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</p:sldMasterIdLst>
  <p:notesMasterIdLst>
    <p:notesMasterId r:id="rId25"/>
  </p:notesMasterIdLst>
  <p:handoutMasterIdLst>
    <p:handoutMasterId r:id="rId26"/>
  </p:handoutMasterIdLst>
  <p:sldIdLst>
    <p:sldId id="273" r:id="rId3"/>
    <p:sldId id="257" r:id="rId4"/>
    <p:sldId id="258" r:id="rId5"/>
    <p:sldId id="274" r:id="rId6"/>
    <p:sldId id="279" r:id="rId7"/>
    <p:sldId id="288" r:id="rId8"/>
    <p:sldId id="280" r:id="rId9"/>
    <p:sldId id="261" r:id="rId10"/>
    <p:sldId id="262" r:id="rId11"/>
    <p:sldId id="285" r:id="rId12"/>
    <p:sldId id="286" r:id="rId13"/>
    <p:sldId id="275" r:id="rId14"/>
    <p:sldId id="282" r:id="rId15"/>
    <p:sldId id="277" r:id="rId16"/>
    <p:sldId id="265" r:id="rId17"/>
    <p:sldId id="271" r:id="rId18"/>
    <p:sldId id="284" r:id="rId19"/>
    <p:sldId id="283" r:id="rId20"/>
    <p:sldId id="287" r:id="rId21"/>
    <p:sldId id="276" r:id="rId22"/>
    <p:sldId id="267" r:id="rId23"/>
    <p:sldId id="269" r:id="rId24"/>
  </p:sldIdLst>
  <p:sldSz cx="10080625" cy="7561263"/>
  <p:notesSz cx="6858000" cy="9144000"/>
  <p:custDataLst>
    <p:tags r:id="rId2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83" userDrawn="1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54" userDrawn="1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470" userDrawn="1">
          <p15:clr>
            <a:srgbClr val="A4A3A4"/>
          </p15:clr>
        </p15:guide>
        <p15:guide id="12" orient="horz" pos="3659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46" userDrawn="1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20" userDrawn="1">
          <p15:clr>
            <a:srgbClr val="A4A3A4"/>
          </p15:clr>
        </p15:guide>
        <p15:guide id="29" pos="625">
          <p15:clr>
            <a:srgbClr val="A4A3A4"/>
          </p15:clr>
        </p15:guide>
        <p15:guide id="30" pos="703" userDrawn="1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0" userDrawn="1">
          <p15:clr>
            <a:srgbClr val="A4A3A4"/>
          </p15:clr>
        </p15:guide>
        <p15:guide id="37" pos="2662">
          <p15:clr>
            <a:srgbClr val="A4A3A4"/>
          </p15:clr>
        </p15:guide>
        <p15:guide id="38" pos="2744" userDrawn="1">
          <p15:clr>
            <a:srgbClr val="A4A3A4"/>
          </p15:clr>
        </p15:guide>
        <p15:guide id="39" pos="3152" userDrawn="1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0" userDrawn="1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38BFF"/>
    <a:srgbClr val="CAC8C8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027" autoAdjust="0"/>
    <p:restoredTop sz="95142" autoAdjust="0"/>
  </p:normalViewPr>
  <p:slideViewPr>
    <p:cSldViewPr snapToGrid="0">
      <p:cViewPr varScale="1">
        <p:scale>
          <a:sx n="97" d="100"/>
          <a:sy n="97" d="100"/>
        </p:scale>
        <p:origin x="1158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83"/>
        <p:guide orient="horz" pos="1919"/>
        <p:guide orient="horz" pos="2654"/>
        <p:guide orient="horz" pos="2899"/>
        <p:guide orient="horz" pos="3470"/>
        <p:guide orient="horz" pos="3659"/>
        <p:guide orient="horz" pos="4285"/>
        <p:guide orient="horz" pos="3316"/>
        <p:guide orient="horz" pos="3588"/>
        <p:guide orient="horz" pos="4008"/>
        <p:guide orient="horz" pos="4357"/>
        <p:guide orient="horz" pos="3946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20"/>
        <p:guide pos="625"/>
        <p:guide pos="703"/>
        <p:guide pos="1121"/>
        <p:guide pos="1196"/>
        <p:guide pos="1629"/>
        <p:guide pos="1705"/>
        <p:guide pos="2138"/>
        <p:guide pos="2200"/>
        <p:guide pos="2662"/>
        <p:guide pos="2744"/>
        <p:guide pos="3152"/>
        <p:guide pos="3635"/>
        <p:guide pos="3711"/>
        <p:guide pos="4150"/>
        <p:guide pos="4226"/>
        <p:guide pos="4653"/>
        <p:guide pos="4735"/>
        <p:guide pos="5164"/>
        <p:guide pos="5242"/>
        <p:guide pos="5670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7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7/2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702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54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04681" y="4292038"/>
            <a:ext cx="6036351" cy="1261884"/>
          </a:xfrm>
        </p:spPr>
        <p:txBody>
          <a:bodyPr wrap="square" anchor="t" anchorCtr="0">
            <a:spAutoFit/>
          </a:bodyPr>
          <a:lstStyle>
            <a:lvl1pPr algn="r">
              <a:lnSpc>
                <a:spcPct val="100000"/>
              </a:lnSpc>
              <a:defRPr sz="82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04681" y="4085331"/>
            <a:ext cx="6001182" cy="400110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r">
              <a:lnSpc>
                <a:spcPct val="100000"/>
              </a:lnSpc>
              <a:buNone/>
              <a:defRPr sz="2000" b="1" i="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3747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nip and Round Single Corner Rectangle 49"/>
          <p:cNvSpPr/>
          <p:nvPr userDrawn="1"/>
        </p:nvSpPr>
        <p:spPr>
          <a:xfrm rot="10800000" flipH="1" flipV="1">
            <a:off x="6294729" y="1708549"/>
            <a:ext cx="1039259" cy="1897101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760658" y="1712748"/>
            <a:ext cx="1040992" cy="8292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29044" y="1702251"/>
            <a:ext cx="1036993" cy="1811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5106490" y="1702251"/>
            <a:ext cx="1040992" cy="1811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92996" y="3272990"/>
            <a:ext cx="1040992" cy="19920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106489" y="3069771"/>
            <a:ext cx="1040992" cy="21952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929043" y="3227831"/>
            <a:ext cx="1040992" cy="203718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762918" y="2273472"/>
            <a:ext cx="1036461" cy="3008315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6166424"/>
            <a:ext cx="587762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938104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115550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 rot="16200000">
            <a:off x="2081254" y="3347405"/>
            <a:ext cx="2386208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292996" y="562928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5" hasCustomPrompt="1"/>
          </p:nvPr>
        </p:nvSpPr>
        <p:spPr>
          <a:xfrm rot="16200000">
            <a:off x="3233647" y="3322352"/>
            <a:ext cx="2436314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 hasCustomPrompt="1"/>
          </p:nvPr>
        </p:nvSpPr>
        <p:spPr>
          <a:xfrm rot="16200000">
            <a:off x="4411093" y="3322352"/>
            <a:ext cx="243631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7" hasCustomPrompt="1"/>
          </p:nvPr>
        </p:nvSpPr>
        <p:spPr>
          <a:xfrm rot="16200000">
            <a:off x="5588541" y="3322353"/>
            <a:ext cx="2436312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6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7763" y="5854348"/>
            <a:ext cx="587762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4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834384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3931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54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4" userDrawn="1">
          <p15:clr>
            <a:srgbClr val="FBAE40"/>
          </p15:clr>
        </p15:guide>
        <p15:guide id="2" pos="3175">
          <p15:clr>
            <a:srgbClr val="FBAE40"/>
          </p15:clr>
        </p15:guide>
        <p15:guide id="3" pos="1768" userDrawn="1">
          <p15:clr>
            <a:srgbClr val="FBAE40"/>
          </p15:clr>
        </p15:guide>
        <p15:guide id="4" pos="4581" userDrawn="1">
          <p15:clr>
            <a:srgbClr val="FBAE40"/>
          </p15:clr>
        </p15:guide>
        <p15:guide id="5" orient="horz" pos="22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8" name="Snip Diagonal Corner Rectangle 17"/>
          <p:cNvSpPr/>
          <p:nvPr userDrawn="1"/>
        </p:nvSpPr>
        <p:spPr>
          <a:xfrm>
            <a:off x="711524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6" name="Snip Diagonal Corner Rectangle 25"/>
          <p:cNvSpPr/>
          <p:nvPr userDrawn="1"/>
        </p:nvSpPr>
        <p:spPr>
          <a:xfrm>
            <a:off x="711524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Snip Diagonal Corner Rectangle 28"/>
          <p:cNvSpPr/>
          <p:nvPr userDrawn="1"/>
        </p:nvSpPr>
        <p:spPr>
          <a:xfrm>
            <a:off x="711524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2" name="Snip Diagonal Corner Rectangle 31"/>
          <p:cNvSpPr/>
          <p:nvPr userDrawn="1"/>
        </p:nvSpPr>
        <p:spPr>
          <a:xfrm>
            <a:off x="3090895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4" name="Snip Diagonal Corner Rectangle 33"/>
          <p:cNvSpPr/>
          <p:nvPr userDrawn="1"/>
        </p:nvSpPr>
        <p:spPr>
          <a:xfrm>
            <a:off x="3090895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Snip Diagonal Corner Rectangle 35"/>
          <p:cNvSpPr/>
          <p:nvPr userDrawn="1"/>
        </p:nvSpPr>
        <p:spPr>
          <a:xfrm>
            <a:off x="3090895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9" name="Snip Diagonal Corner Rectangle 38"/>
          <p:cNvSpPr/>
          <p:nvPr userDrawn="1"/>
        </p:nvSpPr>
        <p:spPr>
          <a:xfrm>
            <a:off x="5470266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5470266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Snip Diagonal Corner Rectangle 42"/>
          <p:cNvSpPr/>
          <p:nvPr userDrawn="1"/>
        </p:nvSpPr>
        <p:spPr>
          <a:xfrm>
            <a:off x="5470266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6" name="Snip Diagonal Corner Rectangle 45"/>
          <p:cNvSpPr/>
          <p:nvPr userDrawn="1"/>
        </p:nvSpPr>
        <p:spPr>
          <a:xfrm>
            <a:off x="7849637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Snip Diagonal Corner Rectangle 47"/>
          <p:cNvSpPr/>
          <p:nvPr userDrawn="1"/>
        </p:nvSpPr>
        <p:spPr>
          <a:xfrm>
            <a:off x="7849637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Snip Diagonal Corner Rectangle 49"/>
          <p:cNvSpPr/>
          <p:nvPr userDrawn="1"/>
        </p:nvSpPr>
        <p:spPr>
          <a:xfrm>
            <a:off x="7849637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4404201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1437770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5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7382572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870365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3842766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6815167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87139" y="5043777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5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170245" y="5043777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549994" y="5043777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8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936461" y="5043777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53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343704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343704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343704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10853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510853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510853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</p:spTree>
    <p:extLst>
      <p:ext uri="{BB962C8B-B14F-4D97-AF65-F5344CB8AC3E}">
        <p14:creationId xmlns:p14="http://schemas.microsoft.com/office/powerpoint/2010/main" val="141482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 userDrawn="1"/>
        </p:nvSpPr>
        <p:spPr>
          <a:xfrm flipH="1">
            <a:off x="1745221" y="2379609"/>
            <a:ext cx="6590178" cy="623083"/>
          </a:xfrm>
          <a:prstGeom prst="snipRoundRect">
            <a:avLst>
              <a:gd name="adj1" fmla="val 0"/>
              <a:gd name="adj2" fmla="val 1853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968000" y="2540818"/>
            <a:ext cx="1219084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645880" y="2540818"/>
            <a:ext cx="1617236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50393" y="2540818"/>
            <a:ext cx="156751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7046028" y="2540818"/>
            <a:ext cx="141748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1968000" y="318001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3657807" y="3205411"/>
            <a:ext cx="1169374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350393" y="3205411"/>
            <a:ext cx="1167365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7046028" y="3205411"/>
            <a:ext cx="1220786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37" name="Snip Diagonal Corner Rectangle 36"/>
          <p:cNvSpPr/>
          <p:nvPr userDrawn="1"/>
        </p:nvSpPr>
        <p:spPr>
          <a:xfrm flipH="1">
            <a:off x="1745222" y="2376101"/>
            <a:ext cx="6590177" cy="3827630"/>
          </a:xfrm>
          <a:prstGeom prst="snip2DiagRect">
            <a:avLst>
              <a:gd name="adj1" fmla="val 0"/>
              <a:gd name="adj2" fmla="val 3184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1968000" y="3549102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1968000" y="3918193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1968000" y="4287284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1968000" y="4656375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1968000" y="5025466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1968000" y="5394557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1968000" y="576365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1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111025" y="2456843"/>
            <a:ext cx="1603420" cy="579549"/>
          </a:xfrm>
          <a:prstGeom prst="snipRoundRect">
            <a:avLst>
              <a:gd name="adj1" fmla="val 0"/>
              <a:gd name="adj2" fmla="val 43309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82591" y="2465523"/>
            <a:ext cx="1603419" cy="14852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111025" y="2826652"/>
            <a:ext cx="1603420" cy="284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382583" y="3036392"/>
            <a:ext cx="1603419" cy="2633731"/>
          </a:xfrm>
          <a:prstGeom prst="snipRoundRect">
            <a:avLst>
              <a:gd name="adj1" fmla="val 0"/>
              <a:gd name="adj2" fmla="val 1336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382586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211391" y="2465523"/>
            <a:ext cx="1603419" cy="5708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211391" y="2809314"/>
            <a:ext cx="1603419" cy="2229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211391" y="3032195"/>
            <a:ext cx="1603419" cy="26379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211391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111024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2382586" y="1966154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211389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111023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6111024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7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4212847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390486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4211389" y="2826652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56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0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307086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1470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04825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174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 flipV="1">
            <a:off x="533400" y="2209800"/>
            <a:ext cx="4404360" cy="1341120"/>
          </a:xfrm>
          <a:prstGeom prst="snip2DiagRect">
            <a:avLst>
              <a:gd name="adj1" fmla="val 0"/>
              <a:gd name="adj2" fmla="val 8863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306959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Snip Diagonal Corner Rectangle 5"/>
          <p:cNvSpPr/>
          <p:nvPr userDrawn="1"/>
        </p:nvSpPr>
        <p:spPr>
          <a:xfrm flipH="1">
            <a:off x="5158740" y="1577340"/>
            <a:ext cx="413004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1059180" y="3764280"/>
            <a:ext cx="387858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372100" y="131445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63369" y="136696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2329815" y="194087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321084" y="1993390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09625" y="4538472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00894" y="4559734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7970520" y="450723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7961789" y="455974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8280" y="4750234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5665470" y="2561823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76543" y="5646119"/>
            <a:ext cx="2651760" cy="38472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376543" y="3981707"/>
            <a:ext cx="2651760" cy="181588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86740" y="2666859"/>
            <a:ext cx="4297680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4761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01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07626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2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90732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3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70481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4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56948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5" name="Picture Placeholder 18"/>
          <p:cNvSpPr>
            <a:spLocks noGrp="1"/>
          </p:cNvSpPr>
          <p:nvPr>
            <p:ph type="pic" sz="quarter" idx="57" hasCustomPrompt="1"/>
          </p:nvPr>
        </p:nvSpPr>
        <p:spPr>
          <a:xfrm>
            <a:off x="707626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6" name="Picture Placeholder 18"/>
          <p:cNvSpPr>
            <a:spLocks noGrp="1"/>
          </p:cNvSpPr>
          <p:nvPr>
            <p:ph type="pic" sz="quarter" idx="58" hasCustomPrompt="1"/>
          </p:nvPr>
        </p:nvSpPr>
        <p:spPr>
          <a:xfrm>
            <a:off x="3090732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7" name="Picture Placeholder 18"/>
          <p:cNvSpPr>
            <a:spLocks noGrp="1"/>
          </p:cNvSpPr>
          <p:nvPr>
            <p:ph type="pic" sz="quarter" idx="59" hasCustomPrompt="1"/>
          </p:nvPr>
        </p:nvSpPr>
        <p:spPr>
          <a:xfrm>
            <a:off x="5470481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8" name="Picture Placeholder 18"/>
          <p:cNvSpPr>
            <a:spLocks noGrp="1"/>
          </p:cNvSpPr>
          <p:nvPr>
            <p:ph type="pic" sz="quarter" idx="60" hasCustomPrompt="1"/>
          </p:nvPr>
        </p:nvSpPr>
        <p:spPr>
          <a:xfrm>
            <a:off x="7856948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9" name="Picture Placeholder 18"/>
          <p:cNvSpPr>
            <a:spLocks noGrp="1"/>
          </p:cNvSpPr>
          <p:nvPr>
            <p:ph type="pic" sz="quarter" idx="61" hasCustomPrompt="1"/>
          </p:nvPr>
        </p:nvSpPr>
        <p:spPr>
          <a:xfrm>
            <a:off x="707626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0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3090732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1" name="Picture Placeholder 18"/>
          <p:cNvSpPr>
            <a:spLocks noGrp="1"/>
          </p:cNvSpPr>
          <p:nvPr>
            <p:ph type="pic" sz="quarter" idx="63" hasCustomPrompt="1"/>
          </p:nvPr>
        </p:nvSpPr>
        <p:spPr>
          <a:xfrm>
            <a:off x="5470481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2" name="Picture Placeholder 18"/>
          <p:cNvSpPr>
            <a:spLocks noGrp="1"/>
          </p:cNvSpPr>
          <p:nvPr>
            <p:ph type="pic" sz="quarter" idx="64" hasCustomPrompt="1"/>
          </p:nvPr>
        </p:nvSpPr>
        <p:spPr>
          <a:xfrm>
            <a:off x="7856948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22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4002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242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11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 flipV="1">
            <a:off x="14782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6311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1569719" y="2414005"/>
            <a:ext cx="2781301" cy="57964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8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30239" y="2511020"/>
            <a:ext cx="2781301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181100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60370" y="3581400"/>
            <a:ext cx="4159885" cy="2011680"/>
            <a:chOff x="2960370" y="3604260"/>
            <a:chExt cx="4159885" cy="195072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2960370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H="1">
              <a:off x="7120255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1181100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181100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33365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33365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33365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03262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78750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41006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4154604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5134433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5396456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>
            <a:off x="396240" y="3892581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15001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90489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52745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4" name="Snip Diagonal Corner Rectangle 33"/>
          <p:cNvSpPr/>
          <p:nvPr userDrawn="1"/>
        </p:nvSpPr>
        <p:spPr>
          <a:xfrm flipH="1">
            <a:off x="396240" y="367862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380513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466160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478811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337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98298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15874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22682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86705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96037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H="1">
            <a:off x="7120255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63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95499" y="3076073"/>
            <a:ext cx="5554981" cy="1261994"/>
          </a:xfrm>
        </p:spPr>
        <p:txBody>
          <a:bodyPr anchor="t" anchorCtr="0"/>
          <a:lstStyle>
            <a:lvl1pPr algn="r">
              <a:defRPr sz="10400"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95499" y="2960727"/>
            <a:ext cx="5509262" cy="407313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4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5158740" y="1567134"/>
            <a:ext cx="2941320" cy="1983786"/>
            <a:chOff x="5158740" y="1567134"/>
            <a:chExt cx="2941320" cy="1983786"/>
          </a:xfrm>
        </p:grpSpPr>
        <p:sp>
          <p:nvSpPr>
            <p:cNvPr id="6" name="Snip Diagonal Corner Rectangle 5"/>
            <p:cNvSpPr/>
            <p:nvPr userDrawn="1"/>
          </p:nvSpPr>
          <p:spPr>
            <a:xfrm flipH="1">
              <a:off x="5158740" y="1790700"/>
              <a:ext cx="2941320" cy="1760220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 userDrawn="1"/>
          </p:nvSpPr>
          <p:spPr>
            <a:xfrm>
              <a:off x="7416959" y="1567134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5" name="Snip Diagonal Corner Rectangle 14"/>
          <p:cNvSpPr/>
          <p:nvPr userDrawn="1"/>
        </p:nvSpPr>
        <p:spPr>
          <a:xfrm flipH="1" flipV="1">
            <a:off x="533400" y="2374020"/>
            <a:ext cx="4404360" cy="1176900"/>
          </a:xfrm>
          <a:prstGeom prst="snip2DiagRect">
            <a:avLst>
              <a:gd name="adj1" fmla="val 0"/>
              <a:gd name="adj2" fmla="val 12100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2695575" y="211613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ysClr val="windowText" lastClr="000000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326005" y="3764280"/>
            <a:ext cx="2611755" cy="1607820"/>
            <a:chOff x="2326005" y="3764280"/>
            <a:chExt cx="2611755" cy="1607820"/>
          </a:xfrm>
        </p:grpSpPr>
        <p:sp>
          <p:nvSpPr>
            <p:cNvPr id="14" name="Snip Diagonal Corner Rectangle 13"/>
            <p:cNvSpPr/>
            <p:nvPr userDrawn="1"/>
          </p:nvSpPr>
          <p:spPr>
            <a:xfrm flipH="1">
              <a:off x="2575560" y="3764280"/>
              <a:ext cx="2362200" cy="1607820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412115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4909185" y="5511839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31" name="Text Placeholder 2"/>
          <p:cNvSpPr>
            <a:spLocks noGrp="1"/>
          </p:cNvSpPr>
          <p:nvPr userDrawn="1">
            <p:ph type="body" idx="16" hasCustomPrompt="1"/>
          </p:nvPr>
        </p:nvSpPr>
        <p:spPr>
          <a:xfrm>
            <a:off x="5902323" y="4186800"/>
            <a:ext cx="2651760" cy="123110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7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5303520" y="5286643"/>
            <a:ext cx="3848100" cy="28212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5302409" y="2007480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4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5302409" y="2947303"/>
            <a:ext cx="2651760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601980" y="3031122"/>
            <a:ext cx="4221479" cy="2821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2687955" y="3967265"/>
            <a:ext cx="2127884" cy="10156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7" name="Text Placeholder 2"/>
          <p:cNvSpPr>
            <a:spLocks noGrp="1"/>
          </p:cNvSpPr>
          <p:nvPr userDrawn="1">
            <p:ph type="body" idx="24" hasCustomPrompt="1"/>
          </p:nvPr>
        </p:nvSpPr>
        <p:spPr>
          <a:xfrm>
            <a:off x="2687955" y="4799759"/>
            <a:ext cx="2127884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3680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5992194"/>
            <a:ext cx="5877623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509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62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5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7" r:id="rId12"/>
    <p:sldLayoutId id="2147483760" r:id="rId13"/>
    <p:sldLayoutId id="2147483758" r:id="rId14"/>
    <p:sldLayoutId id="2147483754" r:id="rId15"/>
    <p:sldLayoutId id="2147483755" r:id="rId16"/>
    <p:sldLayoutId id="2147483756" r:id="rId17"/>
    <p:sldLayoutId id="2147483761" r:id="rId18"/>
    <p:sldLayoutId id="2147483762" r:id="rId19"/>
    <p:sldLayoutId id="2147483764" r:id="rId20"/>
    <p:sldLayoutId id="2147483765" r:id="rId21"/>
    <p:sldLayoutId id="2147483766" r:id="rId22"/>
    <p:sldLayoutId id="214748376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3" Type="http://schemas.openxmlformats.org/officeDocument/2006/relationships/image" Target="../media/image21.jpg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4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8" t="-1" r="12571" b="392"/>
          <a:stretch/>
        </p:blipFill>
        <p:spPr>
          <a:xfrm>
            <a:off x="0" y="-1"/>
            <a:ext cx="10078497" cy="684007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137041" y="2227670"/>
            <a:ext cx="3712866" cy="1025922"/>
          </a:xfrm>
          <a:effectLst>
            <a:outerShdw blurRad="50800" dist="38100" dir="2700000" algn="tl" rotWithShape="0">
              <a:prstClr val="black">
                <a:alpha val="24000"/>
              </a:prstClr>
            </a:outerShdw>
          </a:effectLst>
        </p:spPr>
        <p:txBody>
          <a:bodyPr/>
          <a:lstStyle/>
          <a:p>
            <a:pPr algn="l">
              <a:lnSpc>
                <a:spcPts val="4000"/>
              </a:lnSpc>
            </a:pPr>
            <a:r>
              <a:rPr lang="en-US" sz="3700" dirty="0" smtClean="0"/>
              <a:t>MAIN SHOPPER WITH children</a:t>
            </a:r>
            <a:endParaRPr lang="en-US" sz="37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038793" y="1836525"/>
            <a:ext cx="6001182" cy="400110"/>
          </a:xfrm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txBody>
          <a:bodyPr/>
          <a:lstStyle/>
          <a:p>
            <a:pPr algn="l"/>
            <a:r>
              <a:rPr lang="en-US" b="0" dirty="0" err="1" smtClean="0"/>
              <a:t>Dcm</a:t>
            </a:r>
            <a:r>
              <a:rPr lang="en-US" b="0" dirty="0" smtClean="0"/>
              <a:t> audience insight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1335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264067"/>
            <a:ext cx="9308541" cy="409568"/>
          </a:xfrm>
        </p:spPr>
        <p:txBody>
          <a:bodyPr/>
          <a:lstStyle/>
          <a:p>
            <a:r>
              <a:rPr lang="en-US" dirty="0" smtClean="0"/>
              <a:t>What are they doing on their phones?</a:t>
            </a:r>
            <a:endParaRPr lang="en-US" dirty="0"/>
          </a:p>
        </p:txBody>
      </p:sp>
      <p:sp>
        <p:nvSpPr>
          <p:cNvPr id="44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8654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FAME </a:t>
            </a:r>
            <a:r>
              <a:rPr lang="en-US" sz="800" b="0" dirty="0" smtClean="0">
                <a:solidFill>
                  <a:schemeClr val="bg1"/>
                </a:solidFill>
              </a:rPr>
              <a:t>2016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797673" y="1680466"/>
            <a:ext cx="2700360" cy="2700360"/>
          </a:xfrm>
          <a:prstGeom prst="ellipse">
            <a:avLst/>
          </a:prstGeom>
          <a:noFill/>
          <a:ln w="10160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2" name="Block Arc 11"/>
          <p:cNvSpPr/>
          <p:nvPr/>
        </p:nvSpPr>
        <p:spPr>
          <a:xfrm>
            <a:off x="3281218" y="1172452"/>
            <a:ext cx="3733356" cy="3730542"/>
          </a:xfrm>
          <a:prstGeom prst="blockArc">
            <a:avLst>
              <a:gd name="adj1" fmla="val 5151838"/>
              <a:gd name="adj2" fmla="val 16207241"/>
              <a:gd name="adj3" fmla="val 27450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128720" y="2508895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49%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5206500" y="5877890"/>
            <a:ext cx="477786" cy="477786"/>
            <a:chOff x="5406270" y="5406450"/>
            <a:chExt cx="643342" cy="643342"/>
          </a:xfrm>
        </p:grpSpPr>
        <p:grpSp>
          <p:nvGrpSpPr>
            <p:cNvPr id="35" name="Group 34"/>
            <p:cNvGrpSpPr/>
            <p:nvPr/>
          </p:nvGrpSpPr>
          <p:grpSpPr>
            <a:xfrm>
              <a:off x="5406270" y="5406450"/>
              <a:ext cx="643342" cy="643342"/>
              <a:chOff x="5203985" y="1300974"/>
              <a:chExt cx="846000" cy="846000"/>
            </a:xfrm>
          </p:grpSpPr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03985" y="1300974"/>
                <a:ext cx="846000" cy="846000"/>
              </a:xfrm>
              <a:prstGeom prst="rect">
                <a:avLst/>
              </a:prstGeom>
            </p:spPr>
          </p:pic>
          <p:sp>
            <p:nvSpPr>
              <p:cNvPr id="43" name="Oval 42"/>
              <p:cNvSpPr/>
              <p:nvPr/>
            </p:nvSpPr>
            <p:spPr>
              <a:xfrm>
                <a:off x="5314437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5584661" y="5577935"/>
              <a:ext cx="287452" cy="287450"/>
              <a:chOff x="6205541" y="4876732"/>
              <a:chExt cx="1098551" cy="1098551"/>
            </a:xfrm>
            <a:solidFill>
              <a:srgbClr val="FB3449"/>
            </a:solidFill>
          </p:grpSpPr>
          <p:sp>
            <p:nvSpPr>
              <p:cNvPr id="39" name="Freeform 5"/>
              <p:cNvSpPr>
                <a:spLocks noEditPoints="1"/>
              </p:cNvSpPr>
              <p:nvPr/>
            </p:nvSpPr>
            <p:spPr bwMode="auto">
              <a:xfrm>
                <a:off x="6205541" y="4876732"/>
                <a:ext cx="1098551" cy="1098551"/>
              </a:xfrm>
              <a:custGeom>
                <a:avLst/>
                <a:gdLst>
                  <a:gd name="T0" fmla="*/ 406 w 1384"/>
                  <a:gd name="T1" fmla="*/ 5 h 1385"/>
                  <a:gd name="T2" fmla="*/ 272 w 1384"/>
                  <a:gd name="T3" fmla="*/ 26 h 1385"/>
                  <a:gd name="T4" fmla="*/ 175 w 1384"/>
                  <a:gd name="T5" fmla="*/ 69 h 1385"/>
                  <a:gd name="T6" fmla="*/ 116 w 1384"/>
                  <a:gd name="T7" fmla="*/ 117 h 1385"/>
                  <a:gd name="T8" fmla="*/ 51 w 1384"/>
                  <a:gd name="T9" fmla="*/ 207 h 1385"/>
                  <a:gd name="T10" fmla="*/ 15 w 1384"/>
                  <a:gd name="T11" fmla="*/ 312 h 1385"/>
                  <a:gd name="T12" fmla="*/ 0 w 1384"/>
                  <a:gd name="T13" fmla="*/ 507 h 1385"/>
                  <a:gd name="T14" fmla="*/ 3 w 1384"/>
                  <a:gd name="T15" fmla="*/ 979 h 1385"/>
                  <a:gd name="T16" fmla="*/ 24 w 1384"/>
                  <a:gd name="T17" fmla="*/ 1112 h 1385"/>
                  <a:gd name="T18" fmla="*/ 69 w 1384"/>
                  <a:gd name="T19" fmla="*/ 1210 h 1385"/>
                  <a:gd name="T20" fmla="*/ 116 w 1384"/>
                  <a:gd name="T21" fmla="*/ 1270 h 1385"/>
                  <a:gd name="T22" fmla="*/ 206 w 1384"/>
                  <a:gd name="T23" fmla="*/ 1335 h 1385"/>
                  <a:gd name="T24" fmla="*/ 312 w 1384"/>
                  <a:gd name="T25" fmla="*/ 1371 h 1385"/>
                  <a:gd name="T26" fmla="*/ 507 w 1384"/>
                  <a:gd name="T27" fmla="*/ 1385 h 1385"/>
                  <a:gd name="T28" fmla="*/ 976 w 1384"/>
                  <a:gd name="T29" fmla="*/ 1381 h 1385"/>
                  <a:gd name="T30" fmla="*/ 1110 w 1384"/>
                  <a:gd name="T31" fmla="*/ 1361 h 1385"/>
                  <a:gd name="T32" fmla="*/ 1209 w 1384"/>
                  <a:gd name="T33" fmla="*/ 1316 h 1385"/>
                  <a:gd name="T34" fmla="*/ 1268 w 1384"/>
                  <a:gd name="T35" fmla="*/ 1270 h 1385"/>
                  <a:gd name="T36" fmla="*/ 1333 w 1384"/>
                  <a:gd name="T37" fmla="*/ 1179 h 1385"/>
                  <a:gd name="T38" fmla="*/ 1369 w 1384"/>
                  <a:gd name="T39" fmla="*/ 1075 h 1385"/>
                  <a:gd name="T40" fmla="*/ 1382 w 1384"/>
                  <a:gd name="T41" fmla="*/ 879 h 1385"/>
                  <a:gd name="T42" fmla="*/ 1379 w 1384"/>
                  <a:gd name="T43" fmla="*/ 408 h 1385"/>
                  <a:gd name="T44" fmla="*/ 1360 w 1384"/>
                  <a:gd name="T45" fmla="*/ 274 h 1385"/>
                  <a:gd name="T46" fmla="*/ 1316 w 1384"/>
                  <a:gd name="T47" fmla="*/ 177 h 1385"/>
                  <a:gd name="T48" fmla="*/ 1268 w 1384"/>
                  <a:gd name="T49" fmla="*/ 117 h 1385"/>
                  <a:gd name="T50" fmla="*/ 1179 w 1384"/>
                  <a:gd name="T51" fmla="*/ 51 h 1385"/>
                  <a:gd name="T52" fmla="*/ 1072 w 1384"/>
                  <a:gd name="T53" fmla="*/ 16 h 1385"/>
                  <a:gd name="T54" fmla="*/ 877 w 1384"/>
                  <a:gd name="T55" fmla="*/ 2 h 1385"/>
                  <a:gd name="T56" fmla="*/ 874 w 1384"/>
                  <a:gd name="T57" fmla="*/ 127 h 1385"/>
                  <a:gd name="T58" fmla="*/ 1052 w 1384"/>
                  <a:gd name="T59" fmla="*/ 139 h 1385"/>
                  <a:gd name="T60" fmla="*/ 1122 w 1384"/>
                  <a:gd name="T61" fmla="*/ 163 h 1385"/>
                  <a:gd name="T62" fmla="*/ 1180 w 1384"/>
                  <a:gd name="T63" fmla="*/ 206 h 1385"/>
                  <a:gd name="T64" fmla="*/ 1232 w 1384"/>
                  <a:gd name="T65" fmla="*/ 285 h 1385"/>
                  <a:gd name="T66" fmla="*/ 1252 w 1384"/>
                  <a:gd name="T67" fmla="*/ 369 h 1385"/>
                  <a:gd name="T68" fmla="*/ 1259 w 1384"/>
                  <a:gd name="T69" fmla="*/ 511 h 1385"/>
                  <a:gd name="T70" fmla="*/ 1257 w 1384"/>
                  <a:gd name="T71" fmla="*/ 924 h 1385"/>
                  <a:gd name="T72" fmla="*/ 1245 w 1384"/>
                  <a:gd name="T73" fmla="*/ 1054 h 1385"/>
                  <a:gd name="T74" fmla="*/ 1221 w 1384"/>
                  <a:gd name="T75" fmla="*/ 1124 h 1385"/>
                  <a:gd name="T76" fmla="*/ 1180 w 1384"/>
                  <a:gd name="T77" fmla="*/ 1181 h 1385"/>
                  <a:gd name="T78" fmla="*/ 1100 w 1384"/>
                  <a:gd name="T79" fmla="*/ 1232 h 1385"/>
                  <a:gd name="T80" fmla="*/ 1016 w 1384"/>
                  <a:gd name="T81" fmla="*/ 1253 h 1385"/>
                  <a:gd name="T82" fmla="*/ 692 w 1384"/>
                  <a:gd name="T83" fmla="*/ 1262 h 1385"/>
                  <a:gd name="T84" fmla="*/ 413 w 1384"/>
                  <a:gd name="T85" fmla="*/ 1256 h 1385"/>
                  <a:gd name="T86" fmla="*/ 284 w 1384"/>
                  <a:gd name="T87" fmla="*/ 1232 h 1385"/>
                  <a:gd name="T88" fmla="*/ 223 w 1384"/>
                  <a:gd name="T89" fmla="*/ 1198 h 1385"/>
                  <a:gd name="T90" fmla="*/ 175 w 1384"/>
                  <a:gd name="T91" fmla="*/ 1145 h 1385"/>
                  <a:gd name="T92" fmla="*/ 146 w 1384"/>
                  <a:gd name="T93" fmla="*/ 1082 h 1385"/>
                  <a:gd name="T94" fmla="*/ 128 w 1384"/>
                  <a:gd name="T95" fmla="*/ 974 h 1385"/>
                  <a:gd name="T96" fmla="*/ 125 w 1384"/>
                  <a:gd name="T97" fmla="*/ 692 h 1385"/>
                  <a:gd name="T98" fmla="*/ 132 w 1384"/>
                  <a:gd name="T99" fmla="*/ 369 h 1385"/>
                  <a:gd name="T100" fmla="*/ 152 w 1384"/>
                  <a:gd name="T101" fmla="*/ 285 h 1385"/>
                  <a:gd name="T102" fmla="*/ 204 w 1384"/>
                  <a:gd name="T103" fmla="*/ 206 h 1385"/>
                  <a:gd name="T104" fmla="*/ 260 w 1384"/>
                  <a:gd name="T105" fmla="*/ 163 h 1385"/>
                  <a:gd name="T106" fmla="*/ 332 w 1384"/>
                  <a:gd name="T107" fmla="*/ 139 h 1385"/>
                  <a:gd name="T108" fmla="*/ 511 w 1384"/>
                  <a:gd name="T109" fmla="*/ 127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84" h="1385">
                    <a:moveTo>
                      <a:pt x="692" y="0"/>
                    </a:moveTo>
                    <a:lnTo>
                      <a:pt x="692" y="0"/>
                    </a:lnTo>
                    <a:lnTo>
                      <a:pt x="507" y="2"/>
                    </a:lnTo>
                    <a:lnTo>
                      <a:pt x="406" y="5"/>
                    </a:lnTo>
                    <a:lnTo>
                      <a:pt x="406" y="5"/>
                    </a:lnTo>
                    <a:lnTo>
                      <a:pt x="356" y="9"/>
                    </a:lnTo>
                    <a:lnTo>
                      <a:pt x="312" y="16"/>
                    </a:lnTo>
                    <a:lnTo>
                      <a:pt x="272" y="26"/>
                    </a:lnTo>
                    <a:lnTo>
                      <a:pt x="238" y="38"/>
                    </a:lnTo>
                    <a:lnTo>
                      <a:pt x="238" y="38"/>
                    </a:lnTo>
                    <a:lnTo>
                      <a:pt x="206" y="51"/>
                    </a:lnTo>
                    <a:lnTo>
                      <a:pt x="175" y="69"/>
                    </a:lnTo>
                    <a:lnTo>
                      <a:pt x="159" y="79"/>
                    </a:lnTo>
                    <a:lnTo>
                      <a:pt x="146" y="91"/>
                    </a:lnTo>
                    <a:lnTo>
                      <a:pt x="116" y="117"/>
                    </a:lnTo>
                    <a:lnTo>
                      <a:pt x="116" y="117"/>
                    </a:lnTo>
                    <a:lnTo>
                      <a:pt x="89" y="146"/>
                    </a:lnTo>
                    <a:lnTo>
                      <a:pt x="79" y="161"/>
                    </a:lnTo>
                    <a:lnTo>
                      <a:pt x="69" y="177"/>
                    </a:lnTo>
                    <a:lnTo>
                      <a:pt x="51" y="207"/>
                    </a:lnTo>
                    <a:lnTo>
                      <a:pt x="36" y="240"/>
                    </a:lnTo>
                    <a:lnTo>
                      <a:pt x="36" y="240"/>
                    </a:lnTo>
                    <a:lnTo>
                      <a:pt x="24" y="274"/>
                    </a:lnTo>
                    <a:lnTo>
                      <a:pt x="15" y="312"/>
                    </a:lnTo>
                    <a:lnTo>
                      <a:pt x="9" y="357"/>
                    </a:lnTo>
                    <a:lnTo>
                      <a:pt x="3" y="408"/>
                    </a:lnTo>
                    <a:lnTo>
                      <a:pt x="3" y="408"/>
                    </a:lnTo>
                    <a:lnTo>
                      <a:pt x="0" y="507"/>
                    </a:lnTo>
                    <a:lnTo>
                      <a:pt x="0" y="692"/>
                    </a:lnTo>
                    <a:lnTo>
                      <a:pt x="0" y="692"/>
                    </a:lnTo>
                    <a:lnTo>
                      <a:pt x="0" y="879"/>
                    </a:lnTo>
                    <a:lnTo>
                      <a:pt x="3" y="979"/>
                    </a:lnTo>
                    <a:lnTo>
                      <a:pt x="3" y="979"/>
                    </a:lnTo>
                    <a:lnTo>
                      <a:pt x="9" y="1030"/>
                    </a:lnTo>
                    <a:lnTo>
                      <a:pt x="15" y="1075"/>
                    </a:lnTo>
                    <a:lnTo>
                      <a:pt x="24" y="1112"/>
                    </a:lnTo>
                    <a:lnTo>
                      <a:pt x="36" y="1147"/>
                    </a:lnTo>
                    <a:lnTo>
                      <a:pt x="36" y="1147"/>
                    </a:lnTo>
                    <a:lnTo>
                      <a:pt x="51" y="1179"/>
                    </a:lnTo>
                    <a:lnTo>
                      <a:pt x="69" y="1210"/>
                    </a:lnTo>
                    <a:lnTo>
                      <a:pt x="79" y="1226"/>
                    </a:lnTo>
                    <a:lnTo>
                      <a:pt x="89" y="1241"/>
                    </a:lnTo>
                    <a:lnTo>
                      <a:pt x="116" y="1270"/>
                    </a:lnTo>
                    <a:lnTo>
                      <a:pt x="116" y="1270"/>
                    </a:lnTo>
                    <a:lnTo>
                      <a:pt x="146" y="1296"/>
                    </a:lnTo>
                    <a:lnTo>
                      <a:pt x="159" y="1308"/>
                    </a:lnTo>
                    <a:lnTo>
                      <a:pt x="175" y="1316"/>
                    </a:lnTo>
                    <a:lnTo>
                      <a:pt x="206" y="1335"/>
                    </a:lnTo>
                    <a:lnTo>
                      <a:pt x="238" y="1349"/>
                    </a:lnTo>
                    <a:lnTo>
                      <a:pt x="238" y="1349"/>
                    </a:lnTo>
                    <a:lnTo>
                      <a:pt x="272" y="1361"/>
                    </a:lnTo>
                    <a:lnTo>
                      <a:pt x="312" y="1371"/>
                    </a:lnTo>
                    <a:lnTo>
                      <a:pt x="356" y="1378"/>
                    </a:lnTo>
                    <a:lnTo>
                      <a:pt x="406" y="1381"/>
                    </a:lnTo>
                    <a:lnTo>
                      <a:pt x="406" y="1381"/>
                    </a:lnTo>
                    <a:lnTo>
                      <a:pt x="507" y="1385"/>
                    </a:lnTo>
                    <a:lnTo>
                      <a:pt x="692" y="1385"/>
                    </a:lnTo>
                    <a:lnTo>
                      <a:pt x="692" y="1385"/>
                    </a:lnTo>
                    <a:lnTo>
                      <a:pt x="877" y="1385"/>
                    </a:lnTo>
                    <a:lnTo>
                      <a:pt x="976" y="1381"/>
                    </a:lnTo>
                    <a:lnTo>
                      <a:pt x="976" y="1381"/>
                    </a:lnTo>
                    <a:lnTo>
                      <a:pt x="1028" y="1378"/>
                    </a:lnTo>
                    <a:lnTo>
                      <a:pt x="1072" y="1371"/>
                    </a:lnTo>
                    <a:lnTo>
                      <a:pt x="1110" y="1361"/>
                    </a:lnTo>
                    <a:lnTo>
                      <a:pt x="1146" y="1349"/>
                    </a:lnTo>
                    <a:lnTo>
                      <a:pt x="1146" y="1349"/>
                    </a:lnTo>
                    <a:lnTo>
                      <a:pt x="1179" y="1335"/>
                    </a:lnTo>
                    <a:lnTo>
                      <a:pt x="1209" y="1316"/>
                    </a:lnTo>
                    <a:lnTo>
                      <a:pt x="1225" y="1308"/>
                    </a:lnTo>
                    <a:lnTo>
                      <a:pt x="1239" y="1296"/>
                    </a:lnTo>
                    <a:lnTo>
                      <a:pt x="1268" y="1270"/>
                    </a:lnTo>
                    <a:lnTo>
                      <a:pt x="1268" y="1270"/>
                    </a:lnTo>
                    <a:lnTo>
                      <a:pt x="1293" y="1241"/>
                    </a:lnTo>
                    <a:lnTo>
                      <a:pt x="1305" y="1226"/>
                    </a:lnTo>
                    <a:lnTo>
                      <a:pt x="1316" y="1210"/>
                    </a:lnTo>
                    <a:lnTo>
                      <a:pt x="1333" y="1179"/>
                    </a:lnTo>
                    <a:lnTo>
                      <a:pt x="1348" y="1147"/>
                    </a:lnTo>
                    <a:lnTo>
                      <a:pt x="1348" y="1147"/>
                    </a:lnTo>
                    <a:lnTo>
                      <a:pt x="1360" y="1112"/>
                    </a:lnTo>
                    <a:lnTo>
                      <a:pt x="1369" y="1075"/>
                    </a:lnTo>
                    <a:lnTo>
                      <a:pt x="1376" y="1030"/>
                    </a:lnTo>
                    <a:lnTo>
                      <a:pt x="1379" y="979"/>
                    </a:lnTo>
                    <a:lnTo>
                      <a:pt x="1379" y="979"/>
                    </a:lnTo>
                    <a:lnTo>
                      <a:pt x="1382" y="879"/>
                    </a:lnTo>
                    <a:lnTo>
                      <a:pt x="1384" y="692"/>
                    </a:lnTo>
                    <a:lnTo>
                      <a:pt x="1384" y="692"/>
                    </a:lnTo>
                    <a:lnTo>
                      <a:pt x="1382" y="507"/>
                    </a:lnTo>
                    <a:lnTo>
                      <a:pt x="1379" y="408"/>
                    </a:lnTo>
                    <a:lnTo>
                      <a:pt x="1379" y="408"/>
                    </a:lnTo>
                    <a:lnTo>
                      <a:pt x="1376" y="357"/>
                    </a:lnTo>
                    <a:lnTo>
                      <a:pt x="1369" y="312"/>
                    </a:lnTo>
                    <a:lnTo>
                      <a:pt x="1360" y="274"/>
                    </a:lnTo>
                    <a:lnTo>
                      <a:pt x="1348" y="240"/>
                    </a:lnTo>
                    <a:lnTo>
                      <a:pt x="1348" y="240"/>
                    </a:lnTo>
                    <a:lnTo>
                      <a:pt x="1333" y="207"/>
                    </a:lnTo>
                    <a:lnTo>
                      <a:pt x="1316" y="177"/>
                    </a:lnTo>
                    <a:lnTo>
                      <a:pt x="1305" y="161"/>
                    </a:lnTo>
                    <a:lnTo>
                      <a:pt x="1293" y="146"/>
                    </a:lnTo>
                    <a:lnTo>
                      <a:pt x="1268" y="117"/>
                    </a:lnTo>
                    <a:lnTo>
                      <a:pt x="1268" y="117"/>
                    </a:lnTo>
                    <a:lnTo>
                      <a:pt x="1239" y="91"/>
                    </a:lnTo>
                    <a:lnTo>
                      <a:pt x="1225" y="79"/>
                    </a:lnTo>
                    <a:lnTo>
                      <a:pt x="1209" y="69"/>
                    </a:lnTo>
                    <a:lnTo>
                      <a:pt x="1179" y="51"/>
                    </a:lnTo>
                    <a:lnTo>
                      <a:pt x="1146" y="38"/>
                    </a:lnTo>
                    <a:lnTo>
                      <a:pt x="1146" y="38"/>
                    </a:lnTo>
                    <a:lnTo>
                      <a:pt x="1110" y="26"/>
                    </a:lnTo>
                    <a:lnTo>
                      <a:pt x="1072" y="16"/>
                    </a:lnTo>
                    <a:lnTo>
                      <a:pt x="1028" y="9"/>
                    </a:lnTo>
                    <a:lnTo>
                      <a:pt x="976" y="5"/>
                    </a:lnTo>
                    <a:lnTo>
                      <a:pt x="976" y="5"/>
                    </a:lnTo>
                    <a:lnTo>
                      <a:pt x="877" y="2"/>
                    </a:lnTo>
                    <a:lnTo>
                      <a:pt x="692" y="0"/>
                    </a:lnTo>
                    <a:close/>
                    <a:moveTo>
                      <a:pt x="692" y="125"/>
                    </a:moveTo>
                    <a:lnTo>
                      <a:pt x="692" y="125"/>
                    </a:lnTo>
                    <a:lnTo>
                      <a:pt x="874" y="127"/>
                    </a:lnTo>
                    <a:lnTo>
                      <a:pt x="971" y="130"/>
                    </a:lnTo>
                    <a:lnTo>
                      <a:pt x="971" y="130"/>
                    </a:lnTo>
                    <a:lnTo>
                      <a:pt x="1016" y="134"/>
                    </a:lnTo>
                    <a:lnTo>
                      <a:pt x="1052" y="139"/>
                    </a:lnTo>
                    <a:lnTo>
                      <a:pt x="1079" y="146"/>
                    </a:lnTo>
                    <a:lnTo>
                      <a:pt x="1100" y="153"/>
                    </a:lnTo>
                    <a:lnTo>
                      <a:pt x="1100" y="153"/>
                    </a:lnTo>
                    <a:lnTo>
                      <a:pt x="1122" y="163"/>
                    </a:lnTo>
                    <a:lnTo>
                      <a:pt x="1143" y="175"/>
                    </a:lnTo>
                    <a:lnTo>
                      <a:pt x="1162" y="189"/>
                    </a:lnTo>
                    <a:lnTo>
                      <a:pt x="1180" y="206"/>
                    </a:lnTo>
                    <a:lnTo>
                      <a:pt x="1180" y="206"/>
                    </a:lnTo>
                    <a:lnTo>
                      <a:pt x="1196" y="223"/>
                    </a:lnTo>
                    <a:lnTo>
                      <a:pt x="1209" y="242"/>
                    </a:lnTo>
                    <a:lnTo>
                      <a:pt x="1221" y="262"/>
                    </a:lnTo>
                    <a:lnTo>
                      <a:pt x="1232" y="285"/>
                    </a:lnTo>
                    <a:lnTo>
                      <a:pt x="1232" y="285"/>
                    </a:lnTo>
                    <a:lnTo>
                      <a:pt x="1239" y="305"/>
                    </a:lnTo>
                    <a:lnTo>
                      <a:pt x="1245" y="333"/>
                    </a:lnTo>
                    <a:lnTo>
                      <a:pt x="1252" y="369"/>
                    </a:lnTo>
                    <a:lnTo>
                      <a:pt x="1256" y="413"/>
                    </a:lnTo>
                    <a:lnTo>
                      <a:pt x="1256" y="413"/>
                    </a:lnTo>
                    <a:lnTo>
                      <a:pt x="1257" y="461"/>
                    </a:lnTo>
                    <a:lnTo>
                      <a:pt x="1259" y="511"/>
                    </a:lnTo>
                    <a:lnTo>
                      <a:pt x="1259" y="692"/>
                    </a:lnTo>
                    <a:lnTo>
                      <a:pt x="1259" y="692"/>
                    </a:lnTo>
                    <a:lnTo>
                      <a:pt x="1259" y="876"/>
                    </a:lnTo>
                    <a:lnTo>
                      <a:pt x="1257" y="924"/>
                    </a:lnTo>
                    <a:lnTo>
                      <a:pt x="1256" y="974"/>
                    </a:lnTo>
                    <a:lnTo>
                      <a:pt x="1256" y="974"/>
                    </a:lnTo>
                    <a:lnTo>
                      <a:pt x="1252" y="1018"/>
                    </a:lnTo>
                    <a:lnTo>
                      <a:pt x="1245" y="1054"/>
                    </a:lnTo>
                    <a:lnTo>
                      <a:pt x="1239" y="1082"/>
                    </a:lnTo>
                    <a:lnTo>
                      <a:pt x="1232" y="1102"/>
                    </a:lnTo>
                    <a:lnTo>
                      <a:pt x="1232" y="1102"/>
                    </a:lnTo>
                    <a:lnTo>
                      <a:pt x="1221" y="1124"/>
                    </a:lnTo>
                    <a:lnTo>
                      <a:pt x="1209" y="1145"/>
                    </a:lnTo>
                    <a:lnTo>
                      <a:pt x="1196" y="1164"/>
                    </a:lnTo>
                    <a:lnTo>
                      <a:pt x="1180" y="1181"/>
                    </a:lnTo>
                    <a:lnTo>
                      <a:pt x="1180" y="1181"/>
                    </a:lnTo>
                    <a:lnTo>
                      <a:pt x="1162" y="1198"/>
                    </a:lnTo>
                    <a:lnTo>
                      <a:pt x="1143" y="1212"/>
                    </a:lnTo>
                    <a:lnTo>
                      <a:pt x="1122" y="1224"/>
                    </a:lnTo>
                    <a:lnTo>
                      <a:pt x="1100" y="1232"/>
                    </a:lnTo>
                    <a:lnTo>
                      <a:pt x="1100" y="1232"/>
                    </a:lnTo>
                    <a:lnTo>
                      <a:pt x="1079" y="1241"/>
                    </a:lnTo>
                    <a:lnTo>
                      <a:pt x="1052" y="1248"/>
                    </a:lnTo>
                    <a:lnTo>
                      <a:pt x="1016" y="1253"/>
                    </a:lnTo>
                    <a:lnTo>
                      <a:pt x="971" y="1256"/>
                    </a:lnTo>
                    <a:lnTo>
                      <a:pt x="971" y="1256"/>
                    </a:lnTo>
                    <a:lnTo>
                      <a:pt x="874" y="1260"/>
                    </a:lnTo>
                    <a:lnTo>
                      <a:pt x="692" y="1262"/>
                    </a:lnTo>
                    <a:lnTo>
                      <a:pt x="692" y="1262"/>
                    </a:lnTo>
                    <a:lnTo>
                      <a:pt x="511" y="1260"/>
                    </a:lnTo>
                    <a:lnTo>
                      <a:pt x="413" y="1256"/>
                    </a:lnTo>
                    <a:lnTo>
                      <a:pt x="413" y="1256"/>
                    </a:lnTo>
                    <a:lnTo>
                      <a:pt x="367" y="1253"/>
                    </a:lnTo>
                    <a:lnTo>
                      <a:pt x="332" y="1248"/>
                    </a:lnTo>
                    <a:lnTo>
                      <a:pt x="305" y="1241"/>
                    </a:lnTo>
                    <a:lnTo>
                      <a:pt x="284" y="1232"/>
                    </a:lnTo>
                    <a:lnTo>
                      <a:pt x="284" y="1232"/>
                    </a:lnTo>
                    <a:lnTo>
                      <a:pt x="260" y="1224"/>
                    </a:lnTo>
                    <a:lnTo>
                      <a:pt x="242" y="1212"/>
                    </a:lnTo>
                    <a:lnTo>
                      <a:pt x="223" y="1198"/>
                    </a:lnTo>
                    <a:lnTo>
                      <a:pt x="204" y="1181"/>
                    </a:lnTo>
                    <a:lnTo>
                      <a:pt x="204" y="1181"/>
                    </a:lnTo>
                    <a:lnTo>
                      <a:pt x="188" y="1164"/>
                    </a:lnTo>
                    <a:lnTo>
                      <a:pt x="175" y="1145"/>
                    </a:lnTo>
                    <a:lnTo>
                      <a:pt x="163" y="1124"/>
                    </a:lnTo>
                    <a:lnTo>
                      <a:pt x="152" y="1102"/>
                    </a:lnTo>
                    <a:lnTo>
                      <a:pt x="152" y="1102"/>
                    </a:lnTo>
                    <a:lnTo>
                      <a:pt x="146" y="1082"/>
                    </a:lnTo>
                    <a:lnTo>
                      <a:pt x="139" y="1054"/>
                    </a:lnTo>
                    <a:lnTo>
                      <a:pt x="132" y="1018"/>
                    </a:lnTo>
                    <a:lnTo>
                      <a:pt x="128" y="974"/>
                    </a:lnTo>
                    <a:lnTo>
                      <a:pt x="128" y="974"/>
                    </a:lnTo>
                    <a:lnTo>
                      <a:pt x="127" y="924"/>
                    </a:lnTo>
                    <a:lnTo>
                      <a:pt x="125" y="876"/>
                    </a:lnTo>
                    <a:lnTo>
                      <a:pt x="125" y="692"/>
                    </a:lnTo>
                    <a:lnTo>
                      <a:pt x="125" y="692"/>
                    </a:lnTo>
                    <a:lnTo>
                      <a:pt x="125" y="511"/>
                    </a:lnTo>
                    <a:lnTo>
                      <a:pt x="128" y="413"/>
                    </a:lnTo>
                    <a:lnTo>
                      <a:pt x="128" y="413"/>
                    </a:lnTo>
                    <a:lnTo>
                      <a:pt x="132" y="369"/>
                    </a:lnTo>
                    <a:lnTo>
                      <a:pt x="139" y="333"/>
                    </a:lnTo>
                    <a:lnTo>
                      <a:pt x="146" y="305"/>
                    </a:lnTo>
                    <a:lnTo>
                      <a:pt x="152" y="285"/>
                    </a:lnTo>
                    <a:lnTo>
                      <a:pt x="152" y="285"/>
                    </a:lnTo>
                    <a:lnTo>
                      <a:pt x="163" y="262"/>
                    </a:lnTo>
                    <a:lnTo>
                      <a:pt x="175" y="242"/>
                    </a:lnTo>
                    <a:lnTo>
                      <a:pt x="188" y="223"/>
                    </a:lnTo>
                    <a:lnTo>
                      <a:pt x="204" y="206"/>
                    </a:lnTo>
                    <a:lnTo>
                      <a:pt x="204" y="206"/>
                    </a:lnTo>
                    <a:lnTo>
                      <a:pt x="223" y="189"/>
                    </a:lnTo>
                    <a:lnTo>
                      <a:pt x="242" y="175"/>
                    </a:lnTo>
                    <a:lnTo>
                      <a:pt x="260" y="163"/>
                    </a:lnTo>
                    <a:lnTo>
                      <a:pt x="284" y="153"/>
                    </a:lnTo>
                    <a:lnTo>
                      <a:pt x="284" y="153"/>
                    </a:lnTo>
                    <a:lnTo>
                      <a:pt x="305" y="146"/>
                    </a:lnTo>
                    <a:lnTo>
                      <a:pt x="332" y="139"/>
                    </a:lnTo>
                    <a:lnTo>
                      <a:pt x="367" y="134"/>
                    </a:lnTo>
                    <a:lnTo>
                      <a:pt x="413" y="130"/>
                    </a:lnTo>
                    <a:lnTo>
                      <a:pt x="413" y="130"/>
                    </a:lnTo>
                    <a:lnTo>
                      <a:pt x="511" y="127"/>
                    </a:lnTo>
                    <a:lnTo>
                      <a:pt x="692" y="12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8"/>
              <p:cNvSpPr>
                <a:spLocks noEditPoints="1"/>
              </p:cNvSpPr>
              <p:nvPr/>
            </p:nvSpPr>
            <p:spPr bwMode="auto">
              <a:xfrm>
                <a:off x="6472241" y="5143432"/>
                <a:ext cx="563563" cy="565150"/>
              </a:xfrm>
              <a:custGeom>
                <a:avLst/>
                <a:gdLst>
                  <a:gd name="T0" fmla="*/ 332 w 711"/>
                  <a:gd name="T1" fmla="*/ 584 h 711"/>
                  <a:gd name="T2" fmla="*/ 267 w 711"/>
                  <a:gd name="T3" fmla="*/ 569 h 711"/>
                  <a:gd name="T4" fmla="*/ 209 w 711"/>
                  <a:gd name="T5" fmla="*/ 533 h 711"/>
                  <a:gd name="T6" fmla="*/ 164 w 711"/>
                  <a:gd name="T7" fmla="*/ 485 h 711"/>
                  <a:gd name="T8" fmla="*/ 135 w 711"/>
                  <a:gd name="T9" fmla="*/ 423 h 711"/>
                  <a:gd name="T10" fmla="*/ 125 w 711"/>
                  <a:gd name="T11" fmla="*/ 354 h 711"/>
                  <a:gd name="T12" fmla="*/ 130 w 711"/>
                  <a:gd name="T13" fmla="*/ 308 h 711"/>
                  <a:gd name="T14" fmla="*/ 154 w 711"/>
                  <a:gd name="T15" fmla="*/ 245 h 711"/>
                  <a:gd name="T16" fmla="*/ 193 w 711"/>
                  <a:gd name="T17" fmla="*/ 192 h 711"/>
                  <a:gd name="T18" fmla="*/ 246 w 711"/>
                  <a:gd name="T19" fmla="*/ 152 h 711"/>
                  <a:gd name="T20" fmla="*/ 310 w 711"/>
                  <a:gd name="T21" fmla="*/ 130 h 711"/>
                  <a:gd name="T22" fmla="*/ 356 w 711"/>
                  <a:gd name="T23" fmla="*/ 125 h 711"/>
                  <a:gd name="T24" fmla="*/ 425 w 711"/>
                  <a:gd name="T25" fmla="*/ 135 h 711"/>
                  <a:gd name="T26" fmla="*/ 485 w 711"/>
                  <a:gd name="T27" fmla="*/ 164 h 711"/>
                  <a:gd name="T28" fmla="*/ 534 w 711"/>
                  <a:gd name="T29" fmla="*/ 209 h 711"/>
                  <a:gd name="T30" fmla="*/ 569 w 711"/>
                  <a:gd name="T31" fmla="*/ 265 h 711"/>
                  <a:gd name="T32" fmla="*/ 586 w 711"/>
                  <a:gd name="T33" fmla="*/ 332 h 711"/>
                  <a:gd name="T34" fmla="*/ 586 w 711"/>
                  <a:gd name="T35" fmla="*/ 378 h 711"/>
                  <a:gd name="T36" fmla="*/ 569 w 711"/>
                  <a:gd name="T37" fmla="*/ 445 h 711"/>
                  <a:gd name="T38" fmla="*/ 534 w 711"/>
                  <a:gd name="T39" fmla="*/ 502 h 711"/>
                  <a:gd name="T40" fmla="*/ 485 w 711"/>
                  <a:gd name="T41" fmla="*/ 546 h 711"/>
                  <a:gd name="T42" fmla="*/ 425 w 711"/>
                  <a:gd name="T43" fmla="*/ 576 h 711"/>
                  <a:gd name="T44" fmla="*/ 356 w 711"/>
                  <a:gd name="T45" fmla="*/ 586 h 711"/>
                  <a:gd name="T46" fmla="*/ 320 w 711"/>
                  <a:gd name="T47" fmla="*/ 1 h 711"/>
                  <a:gd name="T48" fmla="*/ 217 w 711"/>
                  <a:gd name="T49" fmla="*/ 27 h 711"/>
                  <a:gd name="T50" fmla="*/ 130 w 711"/>
                  <a:gd name="T51" fmla="*/ 80 h 711"/>
                  <a:gd name="T52" fmla="*/ 61 w 711"/>
                  <a:gd name="T53" fmla="*/ 156 h 711"/>
                  <a:gd name="T54" fmla="*/ 17 w 711"/>
                  <a:gd name="T55" fmla="*/ 250 h 711"/>
                  <a:gd name="T56" fmla="*/ 0 w 711"/>
                  <a:gd name="T57" fmla="*/ 354 h 711"/>
                  <a:gd name="T58" fmla="*/ 8 w 711"/>
                  <a:gd name="T59" fmla="*/ 426 h 711"/>
                  <a:gd name="T60" fmla="*/ 44 w 711"/>
                  <a:gd name="T61" fmla="*/ 524 h 711"/>
                  <a:gd name="T62" fmla="*/ 104 w 711"/>
                  <a:gd name="T63" fmla="*/ 606 h 711"/>
                  <a:gd name="T64" fmla="*/ 187 w 711"/>
                  <a:gd name="T65" fmla="*/ 668 h 711"/>
                  <a:gd name="T66" fmla="*/ 284 w 711"/>
                  <a:gd name="T67" fmla="*/ 704 h 711"/>
                  <a:gd name="T68" fmla="*/ 356 w 711"/>
                  <a:gd name="T69" fmla="*/ 711 h 711"/>
                  <a:gd name="T70" fmla="*/ 462 w 711"/>
                  <a:gd name="T71" fmla="*/ 696 h 711"/>
                  <a:gd name="T72" fmla="*/ 555 w 711"/>
                  <a:gd name="T73" fmla="*/ 649 h 711"/>
                  <a:gd name="T74" fmla="*/ 630 w 711"/>
                  <a:gd name="T75" fmla="*/ 581 h 711"/>
                  <a:gd name="T76" fmla="*/ 683 w 711"/>
                  <a:gd name="T77" fmla="*/ 493 h 711"/>
                  <a:gd name="T78" fmla="*/ 709 w 711"/>
                  <a:gd name="T79" fmla="*/ 392 h 711"/>
                  <a:gd name="T80" fmla="*/ 709 w 711"/>
                  <a:gd name="T81" fmla="*/ 319 h 711"/>
                  <a:gd name="T82" fmla="*/ 683 w 711"/>
                  <a:gd name="T83" fmla="*/ 217 h 711"/>
                  <a:gd name="T84" fmla="*/ 630 w 711"/>
                  <a:gd name="T85" fmla="*/ 128 h 711"/>
                  <a:gd name="T86" fmla="*/ 555 w 711"/>
                  <a:gd name="T87" fmla="*/ 60 h 711"/>
                  <a:gd name="T88" fmla="*/ 462 w 711"/>
                  <a:gd name="T89" fmla="*/ 15 h 711"/>
                  <a:gd name="T90" fmla="*/ 356 w 711"/>
                  <a:gd name="T91" fmla="*/ 0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11" h="711">
                    <a:moveTo>
                      <a:pt x="356" y="586"/>
                    </a:moveTo>
                    <a:lnTo>
                      <a:pt x="356" y="586"/>
                    </a:lnTo>
                    <a:lnTo>
                      <a:pt x="332" y="584"/>
                    </a:lnTo>
                    <a:lnTo>
                      <a:pt x="310" y="581"/>
                    </a:lnTo>
                    <a:lnTo>
                      <a:pt x="288" y="576"/>
                    </a:lnTo>
                    <a:lnTo>
                      <a:pt x="267" y="569"/>
                    </a:lnTo>
                    <a:lnTo>
                      <a:pt x="246" y="558"/>
                    </a:lnTo>
                    <a:lnTo>
                      <a:pt x="228" y="546"/>
                    </a:lnTo>
                    <a:lnTo>
                      <a:pt x="209" y="533"/>
                    </a:lnTo>
                    <a:lnTo>
                      <a:pt x="193" y="519"/>
                    </a:lnTo>
                    <a:lnTo>
                      <a:pt x="178" y="502"/>
                    </a:lnTo>
                    <a:lnTo>
                      <a:pt x="164" y="485"/>
                    </a:lnTo>
                    <a:lnTo>
                      <a:pt x="154" y="466"/>
                    </a:lnTo>
                    <a:lnTo>
                      <a:pt x="144" y="445"/>
                    </a:lnTo>
                    <a:lnTo>
                      <a:pt x="135" y="423"/>
                    </a:lnTo>
                    <a:lnTo>
                      <a:pt x="130" y="402"/>
                    </a:lnTo>
                    <a:lnTo>
                      <a:pt x="127" y="378"/>
                    </a:lnTo>
                    <a:lnTo>
                      <a:pt x="125" y="354"/>
                    </a:lnTo>
                    <a:lnTo>
                      <a:pt x="125" y="354"/>
                    </a:lnTo>
                    <a:lnTo>
                      <a:pt x="127" y="332"/>
                    </a:lnTo>
                    <a:lnTo>
                      <a:pt x="130" y="308"/>
                    </a:lnTo>
                    <a:lnTo>
                      <a:pt x="135" y="286"/>
                    </a:lnTo>
                    <a:lnTo>
                      <a:pt x="144" y="265"/>
                    </a:lnTo>
                    <a:lnTo>
                      <a:pt x="154" y="245"/>
                    </a:lnTo>
                    <a:lnTo>
                      <a:pt x="164" y="226"/>
                    </a:lnTo>
                    <a:lnTo>
                      <a:pt x="178" y="209"/>
                    </a:lnTo>
                    <a:lnTo>
                      <a:pt x="193" y="192"/>
                    </a:lnTo>
                    <a:lnTo>
                      <a:pt x="209" y="178"/>
                    </a:lnTo>
                    <a:lnTo>
                      <a:pt x="228" y="164"/>
                    </a:lnTo>
                    <a:lnTo>
                      <a:pt x="246" y="152"/>
                    </a:lnTo>
                    <a:lnTo>
                      <a:pt x="267" y="142"/>
                    </a:lnTo>
                    <a:lnTo>
                      <a:pt x="288" y="135"/>
                    </a:lnTo>
                    <a:lnTo>
                      <a:pt x="310" y="130"/>
                    </a:lnTo>
                    <a:lnTo>
                      <a:pt x="332" y="125"/>
                    </a:lnTo>
                    <a:lnTo>
                      <a:pt x="356" y="125"/>
                    </a:lnTo>
                    <a:lnTo>
                      <a:pt x="356" y="125"/>
                    </a:lnTo>
                    <a:lnTo>
                      <a:pt x="380" y="125"/>
                    </a:lnTo>
                    <a:lnTo>
                      <a:pt x="402" y="130"/>
                    </a:lnTo>
                    <a:lnTo>
                      <a:pt x="425" y="135"/>
                    </a:lnTo>
                    <a:lnTo>
                      <a:pt x="445" y="142"/>
                    </a:lnTo>
                    <a:lnTo>
                      <a:pt x="466" y="152"/>
                    </a:lnTo>
                    <a:lnTo>
                      <a:pt x="485" y="164"/>
                    </a:lnTo>
                    <a:lnTo>
                      <a:pt x="503" y="178"/>
                    </a:lnTo>
                    <a:lnTo>
                      <a:pt x="519" y="192"/>
                    </a:lnTo>
                    <a:lnTo>
                      <a:pt x="534" y="209"/>
                    </a:lnTo>
                    <a:lnTo>
                      <a:pt x="548" y="226"/>
                    </a:lnTo>
                    <a:lnTo>
                      <a:pt x="558" y="245"/>
                    </a:lnTo>
                    <a:lnTo>
                      <a:pt x="569" y="265"/>
                    </a:lnTo>
                    <a:lnTo>
                      <a:pt x="575" y="286"/>
                    </a:lnTo>
                    <a:lnTo>
                      <a:pt x="582" y="308"/>
                    </a:lnTo>
                    <a:lnTo>
                      <a:pt x="586" y="332"/>
                    </a:lnTo>
                    <a:lnTo>
                      <a:pt x="587" y="354"/>
                    </a:lnTo>
                    <a:lnTo>
                      <a:pt x="587" y="354"/>
                    </a:lnTo>
                    <a:lnTo>
                      <a:pt x="586" y="378"/>
                    </a:lnTo>
                    <a:lnTo>
                      <a:pt x="582" y="402"/>
                    </a:lnTo>
                    <a:lnTo>
                      <a:pt x="575" y="423"/>
                    </a:lnTo>
                    <a:lnTo>
                      <a:pt x="569" y="445"/>
                    </a:lnTo>
                    <a:lnTo>
                      <a:pt x="558" y="466"/>
                    </a:lnTo>
                    <a:lnTo>
                      <a:pt x="548" y="485"/>
                    </a:lnTo>
                    <a:lnTo>
                      <a:pt x="534" y="502"/>
                    </a:lnTo>
                    <a:lnTo>
                      <a:pt x="519" y="519"/>
                    </a:lnTo>
                    <a:lnTo>
                      <a:pt x="503" y="533"/>
                    </a:lnTo>
                    <a:lnTo>
                      <a:pt x="485" y="546"/>
                    </a:lnTo>
                    <a:lnTo>
                      <a:pt x="466" y="558"/>
                    </a:lnTo>
                    <a:lnTo>
                      <a:pt x="445" y="569"/>
                    </a:lnTo>
                    <a:lnTo>
                      <a:pt x="425" y="576"/>
                    </a:lnTo>
                    <a:lnTo>
                      <a:pt x="402" y="581"/>
                    </a:lnTo>
                    <a:lnTo>
                      <a:pt x="380" y="584"/>
                    </a:lnTo>
                    <a:lnTo>
                      <a:pt x="356" y="586"/>
                    </a:lnTo>
                    <a:close/>
                    <a:moveTo>
                      <a:pt x="356" y="0"/>
                    </a:moveTo>
                    <a:lnTo>
                      <a:pt x="356" y="0"/>
                    </a:lnTo>
                    <a:lnTo>
                      <a:pt x="320" y="1"/>
                    </a:lnTo>
                    <a:lnTo>
                      <a:pt x="284" y="7"/>
                    </a:lnTo>
                    <a:lnTo>
                      <a:pt x="250" y="15"/>
                    </a:lnTo>
                    <a:lnTo>
                      <a:pt x="217" y="27"/>
                    </a:lnTo>
                    <a:lnTo>
                      <a:pt x="187" y="43"/>
                    </a:lnTo>
                    <a:lnTo>
                      <a:pt x="157" y="60"/>
                    </a:lnTo>
                    <a:lnTo>
                      <a:pt x="130" y="80"/>
                    </a:lnTo>
                    <a:lnTo>
                      <a:pt x="104" y="104"/>
                    </a:lnTo>
                    <a:lnTo>
                      <a:pt x="82" y="128"/>
                    </a:lnTo>
                    <a:lnTo>
                      <a:pt x="61" y="156"/>
                    </a:lnTo>
                    <a:lnTo>
                      <a:pt x="44" y="187"/>
                    </a:lnTo>
                    <a:lnTo>
                      <a:pt x="29" y="217"/>
                    </a:lnTo>
                    <a:lnTo>
                      <a:pt x="17" y="250"/>
                    </a:lnTo>
                    <a:lnTo>
                      <a:pt x="8" y="284"/>
                    </a:lnTo>
                    <a:lnTo>
                      <a:pt x="3" y="319"/>
                    </a:lnTo>
                    <a:lnTo>
                      <a:pt x="0" y="354"/>
                    </a:lnTo>
                    <a:lnTo>
                      <a:pt x="0" y="354"/>
                    </a:lnTo>
                    <a:lnTo>
                      <a:pt x="3" y="392"/>
                    </a:lnTo>
                    <a:lnTo>
                      <a:pt x="8" y="426"/>
                    </a:lnTo>
                    <a:lnTo>
                      <a:pt x="17" y="461"/>
                    </a:lnTo>
                    <a:lnTo>
                      <a:pt x="29" y="493"/>
                    </a:lnTo>
                    <a:lnTo>
                      <a:pt x="44" y="524"/>
                    </a:lnTo>
                    <a:lnTo>
                      <a:pt x="61" y="553"/>
                    </a:lnTo>
                    <a:lnTo>
                      <a:pt x="82" y="581"/>
                    </a:lnTo>
                    <a:lnTo>
                      <a:pt x="104" y="606"/>
                    </a:lnTo>
                    <a:lnTo>
                      <a:pt x="130" y="630"/>
                    </a:lnTo>
                    <a:lnTo>
                      <a:pt x="157" y="649"/>
                    </a:lnTo>
                    <a:lnTo>
                      <a:pt x="187" y="668"/>
                    </a:lnTo>
                    <a:lnTo>
                      <a:pt x="217" y="684"/>
                    </a:lnTo>
                    <a:lnTo>
                      <a:pt x="250" y="696"/>
                    </a:lnTo>
                    <a:lnTo>
                      <a:pt x="284" y="704"/>
                    </a:lnTo>
                    <a:lnTo>
                      <a:pt x="320" y="709"/>
                    </a:lnTo>
                    <a:lnTo>
                      <a:pt x="356" y="711"/>
                    </a:lnTo>
                    <a:lnTo>
                      <a:pt x="356" y="711"/>
                    </a:lnTo>
                    <a:lnTo>
                      <a:pt x="392" y="709"/>
                    </a:lnTo>
                    <a:lnTo>
                      <a:pt x="428" y="704"/>
                    </a:lnTo>
                    <a:lnTo>
                      <a:pt x="462" y="696"/>
                    </a:lnTo>
                    <a:lnTo>
                      <a:pt x="495" y="684"/>
                    </a:lnTo>
                    <a:lnTo>
                      <a:pt x="526" y="668"/>
                    </a:lnTo>
                    <a:lnTo>
                      <a:pt x="555" y="649"/>
                    </a:lnTo>
                    <a:lnTo>
                      <a:pt x="582" y="630"/>
                    </a:lnTo>
                    <a:lnTo>
                      <a:pt x="608" y="606"/>
                    </a:lnTo>
                    <a:lnTo>
                      <a:pt x="630" y="581"/>
                    </a:lnTo>
                    <a:lnTo>
                      <a:pt x="651" y="553"/>
                    </a:lnTo>
                    <a:lnTo>
                      <a:pt x="668" y="524"/>
                    </a:lnTo>
                    <a:lnTo>
                      <a:pt x="683" y="493"/>
                    </a:lnTo>
                    <a:lnTo>
                      <a:pt x="695" y="461"/>
                    </a:lnTo>
                    <a:lnTo>
                      <a:pt x="704" y="426"/>
                    </a:lnTo>
                    <a:lnTo>
                      <a:pt x="709" y="392"/>
                    </a:lnTo>
                    <a:lnTo>
                      <a:pt x="711" y="354"/>
                    </a:lnTo>
                    <a:lnTo>
                      <a:pt x="711" y="354"/>
                    </a:lnTo>
                    <a:lnTo>
                      <a:pt x="709" y="319"/>
                    </a:lnTo>
                    <a:lnTo>
                      <a:pt x="704" y="284"/>
                    </a:lnTo>
                    <a:lnTo>
                      <a:pt x="695" y="250"/>
                    </a:lnTo>
                    <a:lnTo>
                      <a:pt x="683" y="217"/>
                    </a:lnTo>
                    <a:lnTo>
                      <a:pt x="668" y="187"/>
                    </a:lnTo>
                    <a:lnTo>
                      <a:pt x="651" y="156"/>
                    </a:lnTo>
                    <a:lnTo>
                      <a:pt x="630" y="128"/>
                    </a:lnTo>
                    <a:lnTo>
                      <a:pt x="608" y="104"/>
                    </a:lnTo>
                    <a:lnTo>
                      <a:pt x="582" y="80"/>
                    </a:lnTo>
                    <a:lnTo>
                      <a:pt x="555" y="60"/>
                    </a:lnTo>
                    <a:lnTo>
                      <a:pt x="526" y="43"/>
                    </a:lnTo>
                    <a:lnTo>
                      <a:pt x="495" y="27"/>
                    </a:lnTo>
                    <a:lnTo>
                      <a:pt x="462" y="15"/>
                    </a:lnTo>
                    <a:lnTo>
                      <a:pt x="428" y="7"/>
                    </a:lnTo>
                    <a:lnTo>
                      <a:pt x="392" y="1"/>
                    </a:lnTo>
                    <a:lnTo>
                      <a:pt x="356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11"/>
              <p:cNvSpPr>
                <a:spLocks/>
              </p:cNvSpPr>
              <p:nvPr/>
            </p:nvSpPr>
            <p:spPr bwMode="auto">
              <a:xfrm>
                <a:off x="6981829" y="5067232"/>
                <a:ext cx="131763" cy="131763"/>
              </a:xfrm>
              <a:custGeom>
                <a:avLst/>
                <a:gdLst>
                  <a:gd name="T0" fmla="*/ 166 w 166"/>
                  <a:gd name="T1" fmla="*/ 84 h 166"/>
                  <a:gd name="T2" fmla="*/ 166 w 166"/>
                  <a:gd name="T3" fmla="*/ 84 h 166"/>
                  <a:gd name="T4" fmla="*/ 165 w 166"/>
                  <a:gd name="T5" fmla="*/ 101 h 166"/>
                  <a:gd name="T6" fmla="*/ 160 w 166"/>
                  <a:gd name="T7" fmla="*/ 117 h 166"/>
                  <a:gd name="T8" fmla="*/ 153 w 166"/>
                  <a:gd name="T9" fmla="*/ 130 h 166"/>
                  <a:gd name="T10" fmla="*/ 142 w 166"/>
                  <a:gd name="T11" fmla="*/ 142 h 166"/>
                  <a:gd name="T12" fmla="*/ 130 w 166"/>
                  <a:gd name="T13" fmla="*/ 153 h 166"/>
                  <a:gd name="T14" fmla="*/ 115 w 166"/>
                  <a:gd name="T15" fmla="*/ 159 h 166"/>
                  <a:gd name="T16" fmla="*/ 100 w 166"/>
                  <a:gd name="T17" fmla="*/ 165 h 166"/>
                  <a:gd name="T18" fmla="*/ 84 w 166"/>
                  <a:gd name="T19" fmla="*/ 166 h 166"/>
                  <a:gd name="T20" fmla="*/ 84 w 166"/>
                  <a:gd name="T21" fmla="*/ 166 h 166"/>
                  <a:gd name="T22" fmla="*/ 67 w 166"/>
                  <a:gd name="T23" fmla="*/ 165 h 166"/>
                  <a:gd name="T24" fmla="*/ 52 w 166"/>
                  <a:gd name="T25" fmla="*/ 159 h 166"/>
                  <a:gd name="T26" fmla="*/ 36 w 166"/>
                  <a:gd name="T27" fmla="*/ 153 h 166"/>
                  <a:gd name="T28" fmla="*/ 24 w 166"/>
                  <a:gd name="T29" fmla="*/ 142 h 166"/>
                  <a:gd name="T30" fmla="*/ 14 w 166"/>
                  <a:gd name="T31" fmla="*/ 130 h 166"/>
                  <a:gd name="T32" fmla="*/ 7 w 166"/>
                  <a:gd name="T33" fmla="*/ 117 h 166"/>
                  <a:gd name="T34" fmla="*/ 2 w 166"/>
                  <a:gd name="T35" fmla="*/ 101 h 166"/>
                  <a:gd name="T36" fmla="*/ 0 w 166"/>
                  <a:gd name="T37" fmla="*/ 84 h 166"/>
                  <a:gd name="T38" fmla="*/ 0 w 166"/>
                  <a:gd name="T39" fmla="*/ 84 h 166"/>
                  <a:gd name="T40" fmla="*/ 2 w 166"/>
                  <a:gd name="T41" fmla="*/ 67 h 166"/>
                  <a:gd name="T42" fmla="*/ 7 w 166"/>
                  <a:gd name="T43" fmla="*/ 51 h 166"/>
                  <a:gd name="T44" fmla="*/ 14 w 166"/>
                  <a:gd name="T45" fmla="*/ 38 h 166"/>
                  <a:gd name="T46" fmla="*/ 24 w 166"/>
                  <a:gd name="T47" fmla="*/ 26 h 166"/>
                  <a:gd name="T48" fmla="*/ 36 w 166"/>
                  <a:gd name="T49" fmla="*/ 15 h 166"/>
                  <a:gd name="T50" fmla="*/ 52 w 166"/>
                  <a:gd name="T51" fmla="*/ 7 h 166"/>
                  <a:gd name="T52" fmla="*/ 67 w 166"/>
                  <a:gd name="T53" fmla="*/ 2 h 166"/>
                  <a:gd name="T54" fmla="*/ 84 w 166"/>
                  <a:gd name="T55" fmla="*/ 0 h 166"/>
                  <a:gd name="T56" fmla="*/ 84 w 166"/>
                  <a:gd name="T57" fmla="*/ 0 h 166"/>
                  <a:gd name="T58" fmla="*/ 100 w 166"/>
                  <a:gd name="T59" fmla="*/ 2 h 166"/>
                  <a:gd name="T60" fmla="*/ 115 w 166"/>
                  <a:gd name="T61" fmla="*/ 7 h 166"/>
                  <a:gd name="T62" fmla="*/ 130 w 166"/>
                  <a:gd name="T63" fmla="*/ 15 h 166"/>
                  <a:gd name="T64" fmla="*/ 142 w 166"/>
                  <a:gd name="T65" fmla="*/ 26 h 166"/>
                  <a:gd name="T66" fmla="*/ 153 w 166"/>
                  <a:gd name="T67" fmla="*/ 38 h 166"/>
                  <a:gd name="T68" fmla="*/ 160 w 166"/>
                  <a:gd name="T69" fmla="*/ 51 h 166"/>
                  <a:gd name="T70" fmla="*/ 165 w 166"/>
                  <a:gd name="T71" fmla="*/ 67 h 166"/>
                  <a:gd name="T72" fmla="*/ 166 w 166"/>
                  <a:gd name="T73" fmla="*/ 84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6" h="166">
                    <a:moveTo>
                      <a:pt x="166" y="84"/>
                    </a:moveTo>
                    <a:lnTo>
                      <a:pt x="166" y="84"/>
                    </a:lnTo>
                    <a:lnTo>
                      <a:pt x="165" y="101"/>
                    </a:lnTo>
                    <a:lnTo>
                      <a:pt x="160" y="117"/>
                    </a:lnTo>
                    <a:lnTo>
                      <a:pt x="153" y="130"/>
                    </a:lnTo>
                    <a:lnTo>
                      <a:pt x="142" y="142"/>
                    </a:lnTo>
                    <a:lnTo>
                      <a:pt x="130" y="153"/>
                    </a:lnTo>
                    <a:lnTo>
                      <a:pt x="115" y="159"/>
                    </a:lnTo>
                    <a:lnTo>
                      <a:pt x="100" y="165"/>
                    </a:lnTo>
                    <a:lnTo>
                      <a:pt x="84" y="166"/>
                    </a:lnTo>
                    <a:lnTo>
                      <a:pt x="84" y="166"/>
                    </a:lnTo>
                    <a:lnTo>
                      <a:pt x="67" y="165"/>
                    </a:lnTo>
                    <a:lnTo>
                      <a:pt x="52" y="159"/>
                    </a:lnTo>
                    <a:lnTo>
                      <a:pt x="36" y="153"/>
                    </a:lnTo>
                    <a:lnTo>
                      <a:pt x="24" y="142"/>
                    </a:lnTo>
                    <a:lnTo>
                      <a:pt x="14" y="130"/>
                    </a:lnTo>
                    <a:lnTo>
                      <a:pt x="7" y="117"/>
                    </a:lnTo>
                    <a:lnTo>
                      <a:pt x="2" y="101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2" y="67"/>
                    </a:lnTo>
                    <a:lnTo>
                      <a:pt x="7" y="51"/>
                    </a:lnTo>
                    <a:lnTo>
                      <a:pt x="14" y="38"/>
                    </a:lnTo>
                    <a:lnTo>
                      <a:pt x="24" y="26"/>
                    </a:lnTo>
                    <a:lnTo>
                      <a:pt x="36" y="15"/>
                    </a:lnTo>
                    <a:lnTo>
                      <a:pt x="52" y="7"/>
                    </a:lnTo>
                    <a:lnTo>
                      <a:pt x="67" y="2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100" y="2"/>
                    </a:lnTo>
                    <a:lnTo>
                      <a:pt x="115" y="7"/>
                    </a:lnTo>
                    <a:lnTo>
                      <a:pt x="130" y="15"/>
                    </a:lnTo>
                    <a:lnTo>
                      <a:pt x="142" y="26"/>
                    </a:lnTo>
                    <a:lnTo>
                      <a:pt x="153" y="38"/>
                    </a:lnTo>
                    <a:lnTo>
                      <a:pt x="160" y="51"/>
                    </a:lnTo>
                    <a:lnTo>
                      <a:pt x="165" y="67"/>
                    </a:lnTo>
                    <a:lnTo>
                      <a:pt x="166" y="84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5" name="Group 44"/>
          <p:cNvGrpSpPr/>
          <p:nvPr/>
        </p:nvGrpSpPr>
        <p:grpSpPr>
          <a:xfrm>
            <a:off x="4537166" y="5877890"/>
            <a:ext cx="477786" cy="477786"/>
            <a:chOff x="4024541" y="1300974"/>
            <a:chExt cx="846000" cy="846000"/>
          </a:xfrm>
        </p:grpSpPr>
        <p:grpSp>
          <p:nvGrpSpPr>
            <p:cNvPr id="46" name="Group 45"/>
            <p:cNvGrpSpPr/>
            <p:nvPr/>
          </p:nvGrpSpPr>
          <p:grpSpPr>
            <a:xfrm>
              <a:off x="4024541" y="1300974"/>
              <a:ext cx="846000" cy="846000"/>
              <a:chOff x="4024541" y="1300974"/>
              <a:chExt cx="846000" cy="846000"/>
            </a:xfrm>
          </p:grpSpPr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24541" y="1300974"/>
                <a:ext cx="846000" cy="846000"/>
              </a:xfrm>
              <a:prstGeom prst="rect">
                <a:avLst/>
              </a:prstGeom>
            </p:spPr>
          </p:pic>
          <p:sp>
            <p:nvSpPr>
              <p:cNvPr id="49" name="Oval 48"/>
              <p:cNvSpPr/>
              <p:nvPr/>
            </p:nvSpPr>
            <p:spPr>
              <a:xfrm>
                <a:off x="4159583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7" name="Freeform 13"/>
            <p:cNvSpPr>
              <a:spLocks noEditPoints="1"/>
            </p:cNvSpPr>
            <p:nvPr/>
          </p:nvSpPr>
          <p:spPr bwMode="auto">
            <a:xfrm>
              <a:off x="4272912" y="1520279"/>
              <a:ext cx="378000" cy="378000"/>
            </a:xfrm>
            <a:custGeom>
              <a:avLst/>
              <a:gdLst>
                <a:gd name="T0" fmla="*/ 1358 w 1368"/>
                <a:gd name="T1" fmla="*/ 180 h 1369"/>
                <a:gd name="T2" fmla="*/ 1293 w 1368"/>
                <a:gd name="T3" fmla="*/ 75 h 1369"/>
                <a:gd name="T4" fmla="*/ 1189 w 1368"/>
                <a:gd name="T5" fmla="*/ 10 h 1369"/>
                <a:gd name="T6" fmla="*/ 257 w 1368"/>
                <a:gd name="T7" fmla="*/ 0 h 1369"/>
                <a:gd name="T8" fmla="*/ 133 w 1368"/>
                <a:gd name="T9" fmla="*/ 31 h 1369"/>
                <a:gd name="T10" fmla="*/ 43 w 1368"/>
                <a:gd name="T11" fmla="*/ 113 h 1369"/>
                <a:gd name="T12" fmla="*/ 1 w 1368"/>
                <a:gd name="T13" fmla="*/ 230 h 1369"/>
                <a:gd name="T14" fmla="*/ 5 w 1368"/>
                <a:gd name="T15" fmla="*/ 1164 h 1369"/>
                <a:gd name="T16" fmla="*/ 58 w 1368"/>
                <a:gd name="T17" fmla="*/ 1277 h 1369"/>
                <a:gd name="T18" fmla="*/ 156 w 1368"/>
                <a:gd name="T19" fmla="*/ 1349 h 1369"/>
                <a:gd name="T20" fmla="*/ 1112 w 1368"/>
                <a:gd name="T21" fmla="*/ 1369 h 1369"/>
                <a:gd name="T22" fmla="*/ 1213 w 1368"/>
                <a:gd name="T23" fmla="*/ 1349 h 1369"/>
                <a:gd name="T24" fmla="*/ 1310 w 1368"/>
                <a:gd name="T25" fmla="*/ 1277 h 1369"/>
                <a:gd name="T26" fmla="*/ 1363 w 1368"/>
                <a:gd name="T27" fmla="*/ 1164 h 1369"/>
                <a:gd name="T28" fmla="*/ 1141 w 1368"/>
                <a:gd name="T29" fmla="*/ 430 h 1369"/>
                <a:gd name="T30" fmla="*/ 1046 w 1368"/>
                <a:gd name="T31" fmla="*/ 526 h 1369"/>
                <a:gd name="T32" fmla="*/ 1043 w 1368"/>
                <a:gd name="T33" fmla="*/ 620 h 1369"/>
                <a:gd name="T34" fmla="*/ 1014 w 1368"/>
                <a:gd name="T35" fmla="*/ 739 h 1369"/>
                <a:gd name="T36" fmla="*/ 957 w 1368"/>
                <a:gd name="T37" fmla="*/ 850 h 1369"/>
                <a:gd name="T38" fmla="*/ 875 w 1368"/>
                <a:gd name="T39" fmla="*/ 948 h 1369"/>
                <a:gd name="T40" fmla="*/ 767 w 1368"/>
                <a:gd name="T41" fmla="*/ 1023 h 1369"/>
                <a:gd name="T42" fmla="*/ 637 w 1368"/>
                <a:gd name="T43" fmla="*/ 1071 h 1369"/>
                <a:gd name="T44" fmla="*/ 515 w 1368"/>
                <a:gd name="T45" fmla="*/ 1085 h 1369"/>
                <a:gd name="T46" fmla="*/ 327 w 1368"/>
                <a:gd name="T47" fmla="*/ 1051 h 1369"/>
                <a:gd name="T48" fmla="*/ 250 w 1368"/>
                <a:gd name="T49" fmla="*/ 1003 h 1369"/>
                <a:gd name="T50" fmla="*/ 368 w 1368"/>
                <a:gd name="T51" fmla="*/ 991 h 1369"/>
                <a:gd name="T52" fmla="*/ 505 w 1368"/>
                <a:gd name="T53" fmla="*/ 922 h 1369"/>
                <a:gd name="T54" fmla="*/ 447 w 1368"/>
                <a:gd name="T55" fmla="*/ 912 h 1369"/>
                <a:gd name="T56" fmla="*/ 385 w 1368"/>
                <a:gd name="T57" fmla="*/ 876 h 1369"/>
                <a:gd name="T58" fmla="*/ 341 w 1368"/>
                <a:gd name="T59" fmla="*/ 819 h 1369"/>
                <a:gd name="T60" fmla="*/ 365 w 1368"/>
                <a:gd name="T61" fmla="*/ 795 h 1369"/>
                <a:gd name="T62" fmla="*/ 411 w 1368"/>
                <a:gd name="T63" fmla="*/ 788 h 1369"/>
                <a:gd name="T64" fmla="*/ 337 w 1368"/>
                <a:gd name="T65" fmla="*/ 757 h 1369"/>
                <a:gd name="T66" fmla="*/ 282 w 1368"/>
                <a:gd name="T67" fmla="*/ 699 h 1369"/>
                <a:gd name="T68" fmla="*/ 257 w 1368"/>
                <a:gd name="T69" fmla="*/ 622 h 1369"/>
                <a:gd name="T70" fmla="*/ 299 w 1368"/>
                <a:gd name="T71" fmla="*/ 620 h 1369"/>
                <a:gd name="T72" fmla="*/ 311 w 1368"/>
                <a:gd name="T73" fmla="*/ 596 h 1369"/>
                <a:gd name="T74" fmla="*/ 265 w 1368"/>
                <a:gd name="T75" fmla="*/ 495 h 1369"/>
                <a:gd name="T76" fmla="*/ 279 w 1368"/>
                <a:gd name="T77" fmla="*/ 398 h 1369"/>
                <a:gd name="T78" fmla="*/ 347 w 1368"/>
                <a:gd name="T79" fmla="*/ 435 h 1369"/>
                <a:gd name="T80" fmla="*/ 461 w 1368"/>
                <a:gd name="T81" fmla="*/ 514 h 1369"/>
                <a:gd name="T82" fmla="*/ 591 w 1368"/>
                <a:gd name="T83" fmla="*/ 560 h 1369"/>
                <a:gd name="T84" fmla="*/ 673 w 1368"/>
                <a:gd name="T85" fmla="*/ 552 h 1369"/>
                <a:gd name="T86" fmla="*/ 682 w 1368"/>
                <a:gd name="T87" fmla="*/ 473 h 1369"/>
                <a:gd name="T88" fmla="*/ 728 w 1368"/>
                <a:gd name="T89" fmla="*/ 398 h 1369"/>
                <a:gd name="T90" fmla="*/ 805 w 1368"/>
                <a:gd name="T91" fmla="*/ 350 h 1369"/>
                <a:gd name="T92" fmla="*/ 880 w 1368"/>
                <a:gd name="T93" fmla="*/ 343 h 1369"/>
                <a:gd name="T94" fmla="*/ 968 w 1368"/>
                <a:gd name="T95" fmla="*/ 375 h 1369"/>
                <a:gd name="T96" fmla="*/ 1058 w 1368"/>
                <a:gd name="T97" fmla="*/ 384 h 1369"/>
                <a:gd name="T98" fmla="*/ 1103 w 1368"/>
                <a:gd name="T99" fmla="*/ 387 h 1369"/>
                <a:gd name="T100" fmla="*/ 1046 w 1368"/>
                <a:gd name="T101" fmla="*/ 451 h 1369"/>
                <a:gd name="T102" fmla="*/ 1115 w 1368"/>
                <a:gd name="T103" fmla="*/ 440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68" h="1369">
                  <a:moveTo>
                    <a:pt x="1368" y="257"/>
                  </a:moveTo>
                  <a:lnTo>
                    <a:pt x="1368" y="257"/>
                  </a:lnTo>
                  <a:lnTo>
                    <a:pt x="1368" y="230"/>
                  </a:lnTo>
                  <a:lnTo>
                    <a:pt x="1363" y="204"/>
                  </a:lnTo>
                  <a:lnTo>
                    <a:pt x="1358" y="180"/>
                  </a:lnTo>
                  <a:lnTo>
                    <a:pt x="1350" y="156"/>
                  </a:lnTo>
                  <a:lnTo>
                    <a:pt x="1338" y="134"/>
                  </a:lnTo>
                  <a:lnTo>
                    <a:pt x="1326" y="113"/>
                  </a:lnTo>
                  <a:lnTo>
                    <a:pt x="1310" y="92"/>
                  </a:lnTo>
                  <a:lnTo>
                    <a:pt x="1293" y="75"/>
                  </a:lnTo>
                  <a:lnTo>
                    <a:pt x="1276" y="58"/>
                  </a:lnTo>
                  <a:lnTo>
                    <a:pt x="1255" y="43"/>
                  </a:lnTo>
                  <a:lnTo>
                    <a:pt x="1235" y="31"/>
                  </a:lnTo>
                  <a:lnTo>
                    <a:pt x="1213" y="19"/>
                  </a:lnTo>
                  <a:lnTo>
                    <a:pt x="1189" y="10"/>
                  </a:lnTo>
                  <a:lnTo>
                    <a:pt x="1165" y="5"/>
                  </a:lnTo>
                  <a:lnTo>
                    <a:pt x="1139" y="0"/>
                  </a:lnTo>
                  <a:lnTo>
                    <a:pt x="1112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29" y="0"/>
                  </a:lnTo>
                  <a:lnTo>
                    <a:pt x="204" y="5"/>
                  </a:lnTo>
                  <a:lnTo>
                    <a:pt x="180" y="10"/>
                  </a:lnTo>
                  <a:lnTo>
                    <a:pt x="156" y="19"/>
                  </a:lnTo>
                  <a:lnTo>
                    <a:pt x="133" y="31"/>
                  </a:lnTo>
                  <a:lnTo>
                    <a:pt x="113" y="43"/>
                  </a:lnTo>
                  <a:lnTo>
                    <a:pt x="92" y="58"/>
                  </a:lnTo>
                  <a:lnTo>
                    <a:pt x="75" y="75"/>
                  </a:lnTo>
                  <a:lnTo>
                    <a:pt x="58" y="92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2" y="180"/>
                  </a:lnTo>
                  <a:lnTo>
                    <a:pt x="5" y="204"/>
                  </a:lnTo>
                  <a:lnTo>
                    <a:pt x="1" y="230"/>
                  </a:lnTo>
                  <a:lnTo>
                    <a:pt x="0" y="257"/>
                  </a:lnTo>
                  <a:lnTo>
                    <a:pt x="0" y="1112"/>
                  </a:lnTo>
                  <a:lnTo>
                    <a:pt x="0" y="1112"/>
                  </a:lnTo>
                  <a:lnTo>
                    <a:pt x="1" y="1140"/>
                  </a:lnTo>
                  <a:lnTo>
                    <a:pt x="5" y="1164"/>
                  </a:lnTo>
                  <a:lnTo>
                    <a:pt x="12" y="1189"/>
                  </a:lnTo>
                  <a:lnTo>
                    <a:pt x="20" y="1213"/>
                  </a:lnTo>
                  <a:lnTo>
                    <a:pt x="31" y="1236"/>
                  </a:lnTo>
                  <a:lnTo>
                    <a:pt x="43" y="1256"/>
                  </a:lnTo>
                  <a:lnTo>
                    <a:pt x="58" y="1277"/>
                  </a:lnTo>
                  <a:lnTo>
                    <a:pt x="75" y="1294"/>
                  </a:lnTo>
                  <a:lnTo>
                    <a:pt x="92" y="1311"/>
                  </a:lnTo>
                  <a:lnTo>
                    <a:pt x="113" y="1327"/>
                  </a:lnTo>
                  <a:lnTo>
                    <a:pt x="133" y="1339"/>
                  </a:lnTo>
                  <a:lnTo>
                    <a:pt x="156" y="1349"/>
                  </a:lnTo>
                  <a:lnTo>
                    <a:pt x="180" y="1357"/>
                  </a:lnTo>
                  <a:lnTo>
                    <a:pt x="204" y="1364"/>
                  </a:lnTo>
                  <a:lnTo>
                    <a:pt x="229" y="1368"/>
                  </a:lnTo>
                  <a:lnTo>
                    <a:pt x="257" y="1369"/>
                  </a:lnTo>
                  <a:lnTo>
                    <a:pt x="1112" y="1369"/>
                  </a:lnTo>
                  <a:lnTo>
                    <a:pt x="1112" y="1369"/>
                  </a:lnTo>
                  <a:lnTo>
                    <a:pt x="1139" y="1368"/>
                  </a:lnTo>
                  <a:lnTo>
                    <a:pt x="1165" y="1364"/>
                  </a:lnTo>
                  <a:lnTo>
                    <a:pt x="1189" y="1357"/>
                  </a:lnTo>
                  <a:lnTo>
                    <a:pt x="1213" y="1349"/>
                  </a:lnTo>
                  <a:lnTo>
                    <a:pt x="1235" y="1339"/>
                  </a:lnTo>
                  <a:lnTo>
                    <a:pt x="1255" y="1327"/>
                  </a:lnTo>
                  <a:lnTo>
                    <a:pt x="1276" y="1311"/>
                  </a:lnTo>
                  <a:lnTo>
                    <a:pt x="1293" y="1294"/>
                  </a:lnTo>
                  <a:lnTo>
                    <a:pt x="1310" y="1277"/>
                  </a:lnTo>
                  <a:lnTo>
                    <a:pt x="1326" y="1256"/>
                  </a:lnTo>
                  <a:lnTo>
                    <a:pt x="1338" y="1236"/>
                  </a:lnTo>
                  <a:lnTo>
                    <a:pt x="1350" y="1213"/>
                  </a:lnTo>
                  <a:lnTo>
                    <a:pt x="1358" y="1189"/>
                  </a:lnTo>
                  <a:lnTo>
                    <a:pt x="1363" y="1164"/>
                  </a:lnTo>
                  <a:lnTo>
                    <a:pt x="1368" y="1140"/>
                  </a:lnTo>
                  <a:lnTo>
                    <a:pt x="1368" y="1112"/>
                  </a:lnTo>
                  <a:lnTo>
                    <a:pt x="1368" y="257"/>
                  </a:lnTo>
                  <a:close/>
                  <a:moveTo>
                    <a:pt x="1141" y="430"/>
                  </a:moveTo>
                  <a:lnTo>
                    <a:pt x="1141" y="430"/>
                  </a:lnTo>
                  <a:lnTo>
                    <a:pt x="1120" y="458"/>
                  </a:lnTo>
                  <a:lnTo>
                    <a:pt x="1098" y="483"/>
                  </a:lnTo>
                  <a:lnTo>
                    <a:pt x="1074" y="506"/>
                  </a:lnTo>
                  <a:lnTo>
                    <a:pt x="1046" y="526"/>
                  </a:lnTo>
                  <a:lnTo>
                    <a:pt x="1046" y="526"/>
                  </a:lnTo>
                  <a:lnTo>
                    <a:pt x="1048" y="550"/>
                  </a:lnTo>
                  <a:lnTo>
                    <a:pt x="1048" y="550"/>
                  </a:lnTo>
                  <a:lnTo>
                    <a:pt x="1048" y="574"/>
                  </a:lnTo>
                  <a:lnTo>
                    <a:pt x="1046" y="598"/>
                  </a:lnTo>
                  <a:lnTo>
                    <a:pt x="1043" y="620"/>
                  </a:lnTo>
                  <a:lnTo>
                    <a:pt x="1040" y="644"/>
                  </a:lnTo>
                  <a:lnTo>
                    <a:pt x="1034" y="668"/>
                  </a:lnTo>
                  <a:lnTo>
                    <a:pt x="1028" y="692"/>
                  </a:lnTo>
                  <a:lnTo>
                    <a:pt x="1021" y="715"/>
                  </a:lnTo>
                  <a:lnTo>
                    <a:pt x="1014" y="739"/>
                  </a:lnTo>
                  <a:lnTo>
                    <a:pt x="1004" y="761"/>
                  </a:lnTo>
                  <a:lnTo>
                    <a:pt x="993" y="785"/>
                  </a:lnTo>
                  <a:lnTo>
                    <a:pt x="983" y="807"/>
                  </a:lnTo>
                  <a:lnTo>
                    <a:pt x="969" y="828"/>
                  </a:lnTo>
                  <a:lnTo>
                    <a:pt x="957" y="850"/>
                  </a:lnTo>
                  <a:lnTo>
                    <a:pt x="942" y="871"/>
                  </a:lnTo>
                  <a:lnTo>
                    <a:pt x="926" y="891"/>
                  </a:lnTo>
                  <a:lnTo>
                    <a:pt x="911" y="910"/>
                  </a:lnTo>
                  <a:lnTo>
                    <a:pt x="892" y="929"/>
                  </a:lnTo>
                  <a:lnTo>
                    <a:pt x="875" y="948"/>
                  </a:lnTo>
                  <a:lnTo>
                    <a:pt x="855" y="965"/>
                  </a:lnTo>
                  <a:lnTo>
                    <a:pt x="834" y="980"/>
                  </a:lnTo>
                  <a:lnTo>
                    <a:pt x="813" y="996"/>
                  </a:lnTo>
                  <a:lnTo>
                    <a:pt x="791" y="1011"/>
                  </a:lnTo>
                  <a:lnTo>
                    <a:pt x="767" y="1023"/>
                  </a:lnTo>
                  <a:lnTo>
                    <a:pt x="743" y="1035"/>
                  </a:lnTo>
                  <a:lnTo>
                    <a:pt x="717" y="1047"/>
                  </a:lnTo>
                  <a:lnTo>
                    <a:pt x="692" y="1056"/>
                  </a:lnTo>
                  <a:lnTo>
                    <a:pt x="664" y="1064"/>
                  </a:lnTo>
                  <a:lnTo>
                    <a:pt x="637" y="1071"/>
                  </a:lnTo>
                  <a:lnTo>
                    <a:pt x="608" y="1076"/>
                  </a:lnTo>
                  <a:lnTo>
                    <a:pt x="577" y="1081"/>
                  </a:lnTo>
                  <a:lnTo>
                    <a:pt x="546" y="1083"/>
                  </a:lnTo>
                  <a:lnTo>
                    <a:pt x="515" y="1085"/>
                  </a:lnTo>
                  <a:lnTo>
                    <a:pt x="515" y="1085"/>
                  </a:lnTo>
                  <a:lnTo>
                    <a:pt x="476" y="1083"/>
                  </a:lnTo>
                  <a:lnTo>
                    <a:pt x="437" y="1078"/>
                  </a:lnTo>
                  <a:lnTo>
                    <a:pt x="399" y="1071"/>
                  </a:lnTo>
                  <a:lnTo>
                    <a:pt x="363" y="1063"/>
                  </a:lnTo>
                  <a:lnTo>
                    <a:pt x="327" y="1051"/>
                  </a:lnTo>
                  <a:lnTo>
                    <a:pt x="293" y="1035"/>
                  </a:lnTo>
                  <a:lnTo>
                    <a:pt x="260" y="1020"/>
                  </a:lnTo>
                  <a:lnTo>
                    <a:pt x="228" y="1001"/>
                  </a:lnTo>
                  <a:lnTo>
                    <a:pt x="228" y="1001"/>
                  </a:lnTo>
                  <a:lnTo>
                    <a:pt x="250" y="1003"/>
                  </a:lnTo>
                  <a:lnTo>
                    <a:pt x="272" y="1003"/>
                  </a:lnTo>
                  <a:lnTo>
                    <a:pt x="272" y="1003"/>
                  </a:lnTo>
                  <a:lnTo>
                    <a:pt x="305" y="1001"/>
                  </a:lnTo>
                  <a:lnTo>
                    <a:pt x="337" y="997"/>
                  </a:lnTo>
                  <a:lnTo>
                    <a:pt x="368" y="991"/>
                  </a:lnTo>
                  <a:lnTo>
                    <a:pt x="397" y="982"/>
                  </a:lnTo>
                  <a:lnTo>
                    <a:pt x="426" y="970"/>
                  </a:lnTo>
                  <a:lnTo>
                    <a:pt x="454" y="956"/>
                  </a:lnTo>
                  <a:lnTo>
                    <a:pt x="479" y="941"/>
                  </a:lnTo>
                  <a:lnTo>
                    <a:pt x="505" y="922"/>
                  </a:lnTo>
                  <a:lnTo>
                    <a:pt x="505" y="922"/>
                  </a:lnTo>
                  <a:lnTo>
                    <a:pt x="490" y="922"/>
                  </a:lnTo>
                  <a:lnTo>
                    <a:pt x="474" y="920"/>
                  </a:lnTo>
                  <a:lnTo>
                    <a:pt x="461" y="917"/>
                  </a:lnTo>
                  <a:lnTo>
                    <a:pt x="447" y="912"/>
                  </a:lnTo>
                  <a:lnTo>
                    <a:pt x="433" y="907"/>
                  </a:lnTo>
                  <a:lnTo>
                    <a:pt x="419" y="900"/>
                  </a:lnTo>
                  <a:lnTo>
                    <a:pt x="407" y="893"/>
                  </a:lnTo>
                  <a:lnTo>
                    <a:pt x="395" y="884"/>
                  </a:lnTo>
                  <a:lnTo>
                    <a:pt x="385" y="876"/>
                  </a:lnTo>
                  <a:lnTo>
                    <a:pt x="375" y="865"/>
                  </a:lnTo>
                  <a:lnTo>
                    <a:pt x="365" y="855"/>
                  </a:lnTo>
                  <a:lnTo>
                    <a:pt x="356" y="843"/>
                  </a:lnTo>
                  <a:lnTo>
                    <a:pt x="347" y="831"/>
                  </a:lnTo>
                  <a:lnTo>
                    <a:pt x="341" y="819"/>
                  </a:lnTo>
                  <a:lnTo>
                    <a:pt x="335" y="805"/>
                  </a:lnTo>
                  <a:lnTo>
                    <a:pt x="330" y="792"/>
                  </a:lnTo>
                  <a:lnTo>
                    <a:pt x="330" y="792"/>
                  </a:lnTo>
                  <a:lnTo>
                    <a:pt x="347" y="795"/>
                  </a:lnTo>
                  <a:lnTo>
                    <a:pt x="365" y="795"/>
                  </a:lnTo>
                  <a:lnTo>
                    <a:pt x="365" y="795"/>
                  </a:lnTo>
                  <a:lnTo>
                    <a:pt x="377" y="795"/>
                  </a:lnTo>
                  <a:lnTo>
                    <a:pt x="389" y="793"/>
                  </a:lnTo>
                  <a:lnTo>
                    <a:pt x="411" y="788"/>
                  </a:lnTo>
                  <a:lnTo>
                    <a:pt x="411" y="788"/>
                  </a:lnTo>
                  <a:lnTo>
                    <a:pt x="394" y="785"/>
                  </a:lnTo>
                  <a:lnTo>
                    <a:pt x="380" y="780"/>
                  </a:lnTo>
                  <a:lnTo>
                    <a:pt x="365" y="773"/>
                  </a:lnTo>
                  <a:lnTo>
                    <a:pt x="351" y="766"/>
                  </a:lnTo>
                  <a:lnTo>
                    <a:pt x="337" y="757"/>
                  </a:lnTo>
                  <a:lnTo>
                    <a:pt x="323" y="747"/>
                  </a:lnTo>
                  <a:lnTo>
                    <a:pt x="311" y="737"/>
                  </a:lnTo>
                  <a:lnTo>
                    <a:pt x="301" y="725"/>
                  </a:lnTo>
                  <a:lnTo>
                    <a:pt x="291" y="713"/>
                  </a:lnTo>
                  <a:lnTo>
                    <a:pt x="282" y="699"/>
                  </a:lnTo>
                  <a:lnTo>
                    <a:pt x="274" y="684"/>
                  </a:lnTo>
                  <a:lnTo>
                    <a:pt x="269" y="670"/>
                  </a:lnTo>
                  <a:lnTo>
                    <a:pt x="264" y="655"/>
                  </a:lnTo>
                  <a:lnTo>
                    <a:pt x="258" y="639"/>
                  </a:lnTo>
                  <a:lnTo>
                    <a:pt x="257" y="622"/>
                  </a:lnTo>
                  <a:lnTo>
                    <a:pt x="257" y="605"/>
                  </a:lnTo>
                  <a:lnTo>
                    <a:pt x="257" y="603"/>
                  </a:lnTo>
                  <a:lnTo>
                    <a:pt x="257" y="603"/>
                  </a:lnTo>
                  <a:lnTo>
                    <a:pt x="277" y="612"/>
                  </a:lnTo>
                  <a:lnTo>
                    <a:pt x="299" y="620"/>
                  </a:lnTo>
                  <a:lnTo>
                    <a:pt x="322" y="624"/>
                  </a:lnTo>
                  <a:lnTo>
                    <a:pt x="346" y="627"/>
                  </a:lnTo>
                  <a:lnTo>
                    <a:pt x="346" y="627"/>
                  </a:lnTo>
                  <a:lnTo>
                    <a:pt x="327" y="614"/>
                  </a:lnTo>
                  <a:lnTo>
                    <a:pt x="311" y="596"/>
                  </a:lnTo>
                  <a:lnTo>
                    <a:pt x="298" y="579"/>
                  </a:lnTo>
                  <a:lnTo>
                    <a:pt x="286" y="560"/>
                  </a:lnTo>
                  <a:lnTo>
                    <a:pt x="277" y="540"/>
                  </a:lnTo>
                  <a:lnTo>
                    <a:pt x="270" y="518"/>
                  </a:lnTo>
                  <a:lnTo>
                    <a:pt x="265" y="495"/>
                  </a:lnTo>
                  <a:lnTo>
                    <a:pt x="264" y="470"/>
                  </a:lnTo>
                  <a:lnTo>
                    <a:pt x="264" y="470"/>
                  </a:lnTo>
                  <a:lnTo>
                    <a:pt x="265" y="446"/>
                  </a:lnTo>
                  <a:lnTo>
                    <a:pt x="270" y="422"/>
                  </a:lnTo>
                  <a:lnTo>
                    <a:pt x="279" y="398"/>
                  </a:lnTo>
                  <a:lnTo>
                    <a:pt x="289" y="375"/>
                  </a:lnTo>
                  <a:lnTo>
                    <a:pt x="289" y="375"/>
                  </a:lnTo>
                  <a:lnTo>
                    <a:pt x="308" y="398"/>
                  </a:lnTo>
                  <a:lnTo>
                    <a:pt x="327" y="416"/>
                  </a:lnTo>
                  <a:lnTo>
                    <a:pt x="347" y="435"/>
                  </a:lnTo>
                  <a:lnTo>
                    <a:pt x="368" y="454"/>
                  </a:lnTo>
                  <a:lnTo>
                    <a:pt x="389" y="470"/>
                  </a:lnTo>
                  <a:lnTo>
                    <a:pt x="413" y="487"/>
                  </a:lnTo>
                  <a:lnTo>
                    <a:pt x="435" y="500"/>
                  </a:lnTo>
                  <a:lnTo>
                    <a:pt x="461" y="514"/>
                  </a:lnTo>
                  <a:lnTo>
                    <a:pt x="485" y="526"/>
                  </a:lnTo>
                  <a:lnTo>
                    <a:pt x="510" y="536"/>
                  </a:lnTo>
                  <a:lnTo>
                    <a:pt x="536" y="547"/>
                  </a:lnTo>
                  <a:lnTo>
                    <a:pt x="563" y="554"/>
                  </a:lnTo>
                  <a:lnTo>
                    <a:pt x="591" y="560"/>
                  </a:lnTo>
                  <a:lnTo>
                    <a:pt x="620" y="566"/>
                  </a:lnTo>
                  <a:lnTo>
                    <a:pt x="647" y="571"/>
                  </a:lnTo>
                  <a:lnTo>
                    <a:pt x="676" y="572"/>
                  </a:lnTo>
                  <a:lnTo>
                    <a:pt x="676" y="572"/>
                  </a:lnTo>
                  <a:lnTo>
                    <a:pt x="673" y="552"/>
                  </a:lnTo>
                  <a:lnTo>
                    <a:pt x="673" y="530"/>
                  </a:lnTo>
                  <a:lnTo>
                    <a:pt x="673" y="530"/>
                  </a:lnTo>
                  <a:lnTo>
                    <a:pt x="673" y="511"/>
                  </a:lnTo>
                  <a:lnTo>
                    <a:pt x="676" y="492"/>
                  </a:lnTo>
                  <a:lnTo>
                    <a:pt x="682" y="473"/>
                  </a:lnTo>
                  <a:lnTo>
                    <a:pt x="687" y="456"/>
                  </a:lnTo>
                  <a:lnTo>
                    <a:pt x="695" y="440"/>
                  </a:lnTo>
                  <a:lnTo>
                    <a:pt x="704" y="425"/>
                  </a:lnTo>
                  <a:lnTo>
                    <a:pt x="716" y="410"/>
                  </a:lnTo>
                  <a:lnTo>
                    <a:pt x="728" y="398"/>
                  </a:lnTo>
                  <a:lnTo>
                    <a:pt x="741" y="384"/>
                  </a:lnTo>
                  <a:lnTo>
                    <a:pt x="755" y="374"/>
                  </a:lnTo>
                  <a:lnTo>
                    <a:pt x="771" y="365"/>
                  </a:lnTo>
                  <a:lnTo>
                    <a:pt x="788" y="356"/>
                  </a:lnTo>
                  <a:lnTo>
                    <a:pt x="805" y="350"/>
                  </a:lnTo>
                  <a:lnTo>
                    <a:pt x="822" y="346"/>
                  </a:lnTo>
                  <a:lnTo>
                    <a:pt x="841" y="343"/>
                  </a:lnTo>
                  <a:lnTo>
                    <a:pt x="860" y="343"/>
                  </a:lnTo>
                  <a:lnTo>
                    <a:pt x="860" y="343"/>
                  </a:lnTo>
                  <a:lnTo>
                    <a:pt x="880" y="343"/>
                  </a:lnTo>
                  <a:lnTo>
                    <a:pt x="899" y="346"/>
                  </a:lnTo>
                  <a:lnTo>
                    <a:pt x="918" y="351"/>
                  </a:lnTo>
                  <a:lnTo>
                    <a:pt x="935" y="358"/>
                  </a:lnTo>
                  <a:lnTo>
                    <a:pt x="952" y="367"/>
                  </a:lnTo>
                  <a:lnTo>
                    <a:pt x="968" y="375"/>
                  </a:lnTo>
                  <a:lnTo>
                    <a:pt x="983" y="387"/>
                  </a:lnTo>
                  <a:lnTo>
                    <a:pt x="997" y="401"/>
                  </a:lnTo>
                  <a:lnTo>
                    <a:pt x="997" y="401"/>
                  </a:lnTo>
                  <a:lnTo>
                    <a:pt x="1028" y="394"/>
                  </a:lnTo>
                  <a:lnTo>
                    <a:pt x="1058" y="384"/>
                  </a:lnTo>
                  <a:lnTo>
                    <a:pt x="1088" y="370"/>
                  </a:lnTo>
                  <a:lnTo>
                    <a:pt x="1115" y="355"/>
                  </a:lnTo>
                  <a:lnTo>
                    <a:pt x="1115" y="355"/>
                  </a:lnTo>
                  <a:lnTo>
                    <a:pt x="1110" y="372"/>
                  </a:lnTo>
                  <a:lnTo>
                    <a:pt x="1103" y="387"/>
                  </a:lnTo>
                  <a:lnTo>
                    <a:pt x="1094" y="401"/>
                  </a:lnTo>
                  <a:lnTo>
                    <a:pt x="1084" y="415"/>
                  </a:lnTo>
                  <a:lnTo>
                    <a:pt x="1072" y="428"/>
                  </a:lnTo>
                  <a:lnTo>
                    <a:pt x="1060" y="440"/>
                  </a:lnTo>
                  <a:lnTo>
                    <a:pt x="1046" y="451"/>
                  </a:lnTo>
                  <a:lnTo>
                    <a:pt x="1033" y="459"/>
                  </a:lnTo>
                  <a:lnTo>
                    <a:pt x="1033" y="459"/>
                  </a:lnTo>
                  <a:lnTo>
                    <a:pt x="1062" y="454"/>
                  </a:lnTo>
                  <a:lnTo>
                    <a:pt x="1089" y="449"/>
                  </a:lnTo>
                  <a:lnTo>
                    <a:pt x="1115" y="440"/>
                  </a:lnTo>
                  <a:lnTo>
                    <a:pt x="1141" y="4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868365" y="5878157"/>
            <a:ext cx="477253" cy="477253"/>
            <a:chOff x="372154" y="1393476"/>
            <a:chExt cx="845055" cy="845055"/>
          </a:xfrm>
        </p:grpSpPr>
        <p:grpSp>
          <p:nvGrpSpPr>
            <p:cNvPr id="51" name="Group 50"/>
            <p:cNvGrpSpPr/>
            <p:nvPr/>
          </p:nvGrpSpPr>
          <p:grpSpPr>
            <a:xfrm>
              <a:off x="372154" y="1393476"/>
              <a:ext cx="845055" cy="845055"/>
              <a:chOff x="2854097" y="1301447"/>
              <a:chExt cx="845055" cy="845055"/>
            </a:xfrm>
          </p:grpSpPr>
          <p:pic>
            <p:nvPicPr>
              <p:cNvPr id="53" name="Picture 52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54097" y="1301447"/>
                <a:ext cx="845055" cy="845055"/>
              </a:xfrm>
              <a:prstGeom prst="rect">
                <a:avLst/>
              </a:prstGeom>
            </p:spPr>
          </p:pic>
          <p:sp>
            <p:nvSpPr>
              <p:cNvPr id="54" name="Oval 53"/>
              <p:cNvSpPr/>
              <p:nvPr/>
            </p:nvSpPr>
            <p:spPr>
              <a:xfrm>
                <a:off x="2967450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2" name="Freeform 44"/>
            <p:cNvSpPr>
              <a:spLocks/>
            </p:cNvSpPr>
            <p:nvPr/>
          </p:nvSpPr>
          <p:spPr bwMode="auto">
            <a:xfrm>
              <a:off x="610205" y="1621802"/>
              <a:ext cx="378000" cy="378000"/>
            </a:xfrm>
            <a:custGeom>
              <a:avLst/>
              <a:gdLst>
                <a:gd name="T0" fmla="*/ 256 w 1370"/>
                <a:gd name="T1" fmla="*/ 0 h 1371"/>
                <a:gd name="T2" fmla="*/ 231 w 1370"/>
                <a:gd name="T3" fmla="*/ 2 h 1371"/>
                <a:gd name="T4" fmla="*/ 181 w 1370"/>
                <a:gd name="T5" fmla="*/ 12 h 1371"/>
                <a:gd name="T6" fmla="*/ 135 w 1370"/>
                <a:gd name="T7" fmla="*/ 33 h 1371"/>
                <a:gd name="T8" fmla="*/ 94 w 1370"/>
                <a:gd name="T9" fmla="*/ 60 h 1371"/>
                <a:gd name="T10" fmla="*/ 59 w 1370"/>
                <a:gd name="T11" fmla="*/ 94 h 1371"/>
                <a:gd name="T12" fmla="*/ 30 w 1370"/>
                <a:gd name="T13" fmla="*/ 135 h 1371"/>
                <a:gd name="T14" fmla="*/ 12 w 1370"/>
                <a:gd name="T15" fmla="*/ 182 h 1371"/>
                <a:gd name="T16" fmla="*/ 1 w 1370"/>
                <a:gd name="T17" fmla="*/ 231 h 1371"/>
                <a:gd name="T18" fmla="*/ 0 w 1370"/>
                <a:gd name="T19" fmla="*/ 1114 h 1371"/>
                <a:gd name="T20" fmla="*/ 1 w 1370"/>
                <a:gd name="T21" fmla="*/ 1140 h 1371"/>
                <a:gd name="T22" fmla="*/ 12 w 1370"/>
                <a:gd name="T23" fmla="*/ 1191 h 1371"/>
                <a:gd name="T24" fmla="*/ 30 w 1370"/>
                <a:gd name="T25" fmla="*/ 1236 h 1371"/>
                <a:gd name="T26" fmla="*/ 59 w 1370"/>
                <a:gd name="T27" fmla="*/ 1277 h 1371"/>
                <a:gd name="T28" fmla="*/ 94 w 1370"/>
                <a:gd name="T29" fmla="*/ 1313 h 1371"/>
                <a:gd name="T30" fmla="*/ 135 w 1370"/>
                <a:gd name="T31" fmla="*/ 1340 h 1371"/>
                <a:gd name="T32" fmla="*/ 181 w 1370"/>
                <a:gd name="T33" fmla="*/ 1359 h 1371"/>
                <a:gd name="T34" fmla="*/ 231 w 1370"/>
                <a:gd name="T35" fmla="*/ 1369 h 1371"/>
                <a:gd name="T36" fmla="*/ 731 w 1370"/>
                <a:gd name="T37" fmla="*/ 1371 h 1371"/>
                <a:gd name="T38" fmla="*/ 553 w 1370"/>
                <a:gd name="T39" fmla="*/ 840 h 1371"/>
                <a:gd name="T40" fmla="*/ 731 w 1370"/>
                <a:gd name="T41" fmla="*/ 634 h 1371"/>
                <a:gd name="T42" fmla="*/ 731 w 1370"/>
                <a:gd name="T43" fmla="*/ 480 h 1371"/>
                <a:gd name="T44" fmla="*/ 736 w 1370"/>
                <a:gd name="T45" fmla="*/ 418 h 1371"/>
                <a:gd name="T46" fmla="*/ 750 w 1370"/>
                <a:gd name="T47" fmla="*/ 363 h 1371"/>
                <a:gd name="T48" fmla="*/ 774 w 1370"/>
                <a:gd name="T49" fmla="*/ 317 h 1371"/>
                <a:gd name="T50" fmla="*/ 805 w 1370"/>
                <a:gd name="T51" fmla="*/ 278 h 1371"/>
                <a:gd name="T52" fmla="*/ 844 w 1370"/>
                <a:gd name="T53" fmla="*/ 247 h 1371"/>
                <a:gd name="T54" fmla="*/ 890 w 1370"/>
                <a:gd name="T55" fmla="*/ 226 h 1371"/>
                <a:gd name="T56" fmla="*/ 942 w 1370"/>
                <a:gd name="T57" fmla="*/ 212 h 1371"/>
                <a:gd name="T58" fmla="*/ 998 w 1370"/>
                <a:gd name="T59" fmla="*/ 207 h 1371"/>
                <a:gd name="T60" fmla="*/ 1051 w 1370"/>
                <a:gd name="T61" fmla="*/ 209 h 1371"/>
                <a:gd name="T62" fmla="*/ 1134 w 1370"/>
                <a:gd name="T63" fmla="*/ 212 h 1371"/>
                <a:gd name="T64" fmla="*/ 1156 w 1370"/>
                <a:gd name="T65" fmla="*/ 401 h 1371"/>
                <a:gd name="T66" fmla="*/ 1048 w 1370"/>
                <a:gd name="T67" fmla="*/ 401 h 1371"/>
                <a:gd name="T68" fmla="*/ 1007 w 1370"/>
                <a:gd name="T69" fmla="*/ 406 h 1371"/>
                <a:gd name="T70" fmla="*/ 986 w 1370"/>
                <a:gd name="T71" fmla="*/ 413 h 1371"/>
                <a:gd name="T72" fmla="*/ 971 w 1370"/>
                <a:gd name="T73" fmla="*/ 423 h 1371"/>
                <a:gd name="T74" fmla="*/ 959 w 1370"/>
                <a:gd name="T75" fmla="*/ 435 h 1371"/>
                <a:gd name="T76" fmla="*/ 949 w 1370"/>
                <a:gd name="T77" fmla="*/ 461 h 1371"/>
                <a:gd name="T78" fmla="*/ 945 w 1370"/>
                <a:gd name="T79" fmla="*/ 500 h 1371"/>
                <a:gd name="T80" fmla="*/ 1149 w 1370"/>
                <a:gd name="T81" fmla="*/ 634 h 1371"/>
                <a:gd name="T82" fmla="*/ 945 w 1370"/>
                <a:gd name="T83" fmla="*/ 840 h 1371"/>
                <a:gd name="T84" fmla="*/ 1113 w 1370"/>
                <a:gd name="T85" fmla="*/ 1371 h 1371"/>
                <a:gd name="T86" fmla="*/ 1139 w 1370"/>
                <a:gd name="T87" fmla="*/ 1369 h 1371"/>
                <a:gd name="T88" fmla="*/ 1188 w 1370"/>
                <a:gd name="T89" fmla="*/ 1359 h 1371"/>
                <a:gd name="T90" fmla="*/ 1235 w 1370"/>
                <a:gd name="T91" fmla="*/ 1340 h 1371"/>
                <a:gd name="T92" fmla="*/ 1276 w 1370"/>
                <a:gd name="T93" fmla="*/ 1313 h 1371"/>
                <a:gd name="T94" fmla="*/ 1312 w 1370"/>
                <a:gd name="T95" fmla="*/ 1277 h 1371"/>
                <a:gd name="T96" fmla="*/ 1339 w 1370"/>
                <a:gd name="T97" fmla="*/ 1236 h 1371"/>
                <a:gd name="T98" fmla="*/ 1358 w 1370"/>
                <a:gd name="T99" fmla="*/ 1191 h 1371"/>
                <a:gd name="T100" fmla="*/ 1368 w 1370"/>
                <a:gd name="T101" fmla="*/ 1140 h 1371"/>
                <a:gd name="T102" fmla="*/ 1370 w 1370"/>
                <a:gd name="T103" fmla="*/ 257 h 1371"/>
                <a:gd name="T104" fmla="*/ 1368 w 1370"/>
                <a:gd name="T105" fmla="*/ 231 h 1371"/>
                <a:gd name="T106" fmla="*/ 1358 w 1370"/>
                <a:gd name="T107" fmla="*/ 182 h 1371"/>
                <a:gd name="T108" fmla="*/ 1339 w 1370"/>
                <a:gd name="T109" fmla="*/ 135 h 1371"/>
                <a:gd name="T110" fmla="*/ 1312 w 1370"/>
                <a:gd name="T111" fmla="*/ 94 h 1371"/>
                <a:gd name="T112" fmla="*/ 1276 w 1370"/>
                <a:gd name="T113" fmla="*/ 60 h 1371"/>
                <a:gd name="T114" fmla="*/ 1235 w 1370"/>
                <a:gd name="T115" fmla="*/ 33 h 1371"/>
                <a:gd name="T116" fmla="*/ 1188 w 1370"/>
                <a:gd name="T117" fmla="*/ 12 h 1371"/>
                <a:gd name="T118" fmla="*/ 1139 w 1370"/>
                <a:gd name="T119" fmla="*/ 2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0" h="1371">
                  <a:moveTo>
                    <a:pt x="1113" y="0"/>
                  </a:moveTo>
                  <a:lnTo>
                    <a:pt x="256" y="0"/>
                  </a:lnTo>
                  <a:lnTo>
                    <a:pt x="256" y="0"/>
                  </a:lnTo>
                  <a:lnTo>
                    <a:pt x="231" y="2"/>
                  </a:lnTo>
                  <a:lnTo>
                    <a:pt x="205" y="5"/>
                  </a:lnTo>
                  <a:lnTo>
                    <a:pt x="181" y="12"/>
                  </a:lnTo>
                  <a:lnTo>
                    <a:pt x="157" y="21"/>
                  </a:lnTo>
                  <a:lnTo>
                    <a:pt x="135" y="33"/>
                  </a:lnTo>
                  <a:lnTo>
                    <a:pt x="113" y="45"/>
                  </a:lnTo>
                  <a:lnTo>
                    <a:pt x="94" y="60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4" y="115"/>
                  </a:lnTo>
                  <a:lnTo>
                    <a:pt x="30" y="135"/>
                  </a:lnTo>
                  <a:lnTo>
                    <a:pt x="20" y="158"/>
                  </a:lnTo>
                  <a:lnTo>
                    <a:pt x="12" y="182"/>
                  </a:lnTo>
                  <a:lnTo>
                    <a:pt x="5" y="206"/>
                  </a:lnTo>
                  <a:lnTo>
                    <a:pt x="1" y="231"/>
                  </a:lnTo>
                  <a:lnTo>
                    <a:pt x="0" y="257"/>
                  </a:lnTo>
                  <a:lnTo>
                    <a:pt x="0" y="1114"/>
                  </a:lnTo>
                  <a:lnTo>
                    <a:pt x="0" y="1114"/>
                  </a:lnTo>
                  <a:lnTo>
                    <a:pt x="1" y="1140"/>
                  </a:lnTo>
                  <a:lnTo>
                    <a:pt x="5" y="1165"/>
                  </a:lnTo>
                  <a:lnTo>
                    <a:pt x="12" y="1191"/>
                  </a:lnTo>
                  <a:lnTo>
                    <a:pt x="20" y="1213"/>
                  </a:lnTo>
                  <a:lnTo>
                    <a:pt x="30" y="1236"/>
                  </a:lnTo>
                  <a:lnTo>
                    <a:pt x="44" y="1258"/>
                  </a:lnTo>
                  <a:lnTo>
                    <a:pt x="59" y="1277"/>
                  </a:lnTo>
                  <a:lnTo>
                    <a:pt x="75" y="1296"/>
                  </a:lnTo>
                  <a:lnTo>
                    <a:pt x="94" y="1313"/>
                  </a:lnTo>
                  <a:lnTo>
                    <a:pt x="113" y="1327"/>
                  </a:lnTo>
                  <a:lnTo>
                    <a:pt x="135" y="1340"/>
                  </a:lnTo>
                  <a:lnTo>
                    <a:pt x="157" y="1351"/>
                  </a:lnTo>
                  <a:lnTo>
                    <a:pt x="181" y="1359"/>
                  </a:lnTo>
                  <a:lnTo>
                    <a:pt x="205" y="1366"/>
                  </a:lnTo>
                  <a:lnTo>
                    <a:pt x="231" y="1369"/>
                  </a:lnTo>
                  <a:lnTo>
                    <a:pt x="256" y="1371"/>
                  </a:lnTo>
                  <a:lnTo>
                    <a:pt x="731" y="1371"/>
                  </a:lnTo>
                  <a:lnTo>
                    <a:pt x="731" y="840"/>
                  </a:lnTo>
                  <a:lnTo>
                    <a:pt x="553" y="840"/>
                  </a:lnTo>
                  <a:lnTo>
                    <a:pt x="553" y="634"/>
                  </a:lnTo>
                  <a:lnTo>
                    <a:pt x="731" y="634"/>
                  </a:lnTo>
                  <a:lnTo>
                    <a:pt x="731" y="480"/>
                  </a:lnTo>
                  <a:lnTo>
                    <a:pt x="731" y="480"/>
                  </a:lnTo>
                  <a:lnTo>
                    <a:pt x="733" y="449"/>
                  </a:lnTo>
                  <a:lnTo>
                    <a:pt x="736" y="418"/>
                  </a:lnTo>
                  <a:lnTo>
                    <a:pt x="743" y="391"/>
                  </a:lnTo>
                  <a:lnTo>
                    <a:pt x="750" y="363"/>
                  </a:lnTo>
                  <a:lnTo>
                    <a:pt x="762" y="339"/>
                  </a:lnTo>
                  <a:lnTo>
                    <a:pt x="774" y="317"/>
                  </a:lnTo>
                  <a:lnTo>
                    <a:pt x="789" y="296"/>
                  </a:lnTo>
                  <a:lnTo>
                    <a:pt x="805" y="278"/>
                  </a:lnTo>
                  <a:lnTo>
                    <a:pt x="824" y="262"/>
                  </a:lnTo>
                  <a:lnTo>
                    <a:pt x="844" y="247"/>
                  </a:lnTo>
                  <a:lnTo>
                    <a:pt x="866" y="235"/>
                  </a:lnTo>
                  <a:lnTo>
                    <a:pt x="890" y="226"/>
                  </a:lnTo>
                  <a:lnTo>
                    <a:pt x="914" y="218"/>
                  </a:lnTo>
                  <a:lnTo>
                    <a:pt x="942" y="212"/>
                  </a:lnTo>
                  <a:lnTo>
                    <a:pt x="969" y="209"/>
                  </a:lnTo>
                  <a:lnTo>
                    <a:pt x="998" y="207"/>
                  </a:lnTo>
                  <a:lnTo>
                    <a:pt x="998" y="207"/>
                  </a:lnTo>
                  <a:lnTo>
                    <a:pt x="1051" y="209"/>
                  </a:lnTo>
                  <a:lnTo>
                    <a:pt x="1098" y="211"/>
                  </a:lnTo>
                  <a:lnTo>
                    <a:pt x="1134" y="212"/>
                  </a:lnTo>
                  <a:lnTo>
                    <a:pt x="1156" y="216"/>
                  </a:lnTo>
                  <a:lnTo>
                    <a:pt x="1156" y="401"/>
                  </a:lnTo>
                  <a:lnTo>
                    <a:pt x="1048" y="401"/>
                  </a:lnTo>
                  <a:lnTo>
                    <a:pt x="1048" y="401"/>
                  </a:lnTo>
                  <a:lnTo>
                    <a:pt x="1019" y="403"/>
                  </a:lnTo>
                  <a:lnTo>
                    <a:pt x="1007" y="406"/>
                  </a:lnTo>
                  <a:lnTo>
                    <a:pt x="995" y="408"/>
                  </a:lnTo>
                  <a:lnTo>
                    <a:pt x="986" y="413"/>
                  </a:lnTo>
                  <a:lnTo>
                    <a:pt x="978" y="416"/>
                  </a:lnTo>
                  <a:lnTo>
                    <a:pt x="971" y="423"/>
                  </a:lnTo>
                  <a:lnTo>
                    <a:pt x="964" y="428"/>
                  </a:lnTo>
                  <a:lnTo>
                    <a:pt x="959" y="435"/>
                  </a:lnTo>
                  <a:lnTo>
                    <a:pt x="955" y="444"/>
                  </a:lnTo>
                  <a:lnTo>
                    <a:pt x="949" y="461"/>
                  </a:lnTo>
                  <a:lnTo>
                    <a:pt x="947" y="480"/>
                  </a:lnTo>
                  <a:lnTo>
                    <a:pt x="945" y="500"/>
                  </a:lnTo>
                  <a:lnTo>
                    <a:pt x="945" y="634"/>
                  </a:lnTo>
                  <a:lnTo>
                    <a:pt x="1149" y="634"/>
                  </a:lnTo>
                  <a:lnTo>
                    <a:pt x="1123" y="840"/>
                  </a:lnTo>
                  <a:lnTo>
                    <a:pt x="945" y="840"/>
                  </a:lnTo>
                  <a:lnTo>
                    <a:pt x="945" y="1371"/>
                  </a:lnTo>
                  <a:lnTo>
                    <a:pt x="1113" y="1371"/>
                  </a:lnTo>
                  <a:lnTo>
                    <a:pt x="1113" y="1371"/>
                  </a:lnTo>
                  <a:lnTo>
                    <a:pt x="1139" y="1369"/>
                  </a:lnTo>
                  <a:lnTo>
                    <a:pt x="1164" y="1366"/>
                  </a:lnTo>
                  <a:lnTo>
                    <a:pt x="1188" y="1359"/>
                  </a:lnTo>
                  <a:lnTo>
                    <a:pt x="1212" y="1351"/>
                  </a:lnTo>
                  <a:lnTo>
                    <a:pt x="1235" y="1340"/>
                  </a:lnTo>
                  <a:lnTo>
                    <a:pt x="1257" y="1327"/>
                  </a:lnTo>
                  <a:lnTo>
                    <a:pt x="1276" y="1313"/>
                  </a:lnTo>
                  <a:lnTo>
                    <a:pt x="1295" y="1296"/>
                  </a:lnTo>
                  <a:lnTo>
                    <a:pt x="1312" y="1277"/>
                  </a:lnTo>
                  <a:lnTo>
                    <a:pt x="1325" y="1258"/>
                  </a:lnTo>
                  <a:lnTo>
                    <a:pt x="1339" y="1236"/>
                  </a:lnTo>
                  <a:lnTo>
                    <a:pt x="1349" y="1213"/>
                  </a:lnTo>
                  <a:lnTo>
                    <a:pt x="1358" y="1191"/>
                  </a:lnTo>
                  <a:lnTo>
                    <a:pt x="1365" y="1165"/>
                  </a:lnTo>
                  <a:lnTo>
                    <a:pt x="1368" y="1140"/>
                  </a:lnTo>
                  <a:lnTo>
                    <a:pt x="1370" y="1114"/>
                  </a:lnTo>
                  <a:lnTo>
                    <a:pt x="1370" y="257"/>
                  </a:lnTo>
                  <a:lnTo>
                    <a:pt x="1370" y="257"/>
                  </a:lnTo>
                  <a:lnTo>
                    <a:pt x="1368" y="231"/>
                  </a:lnTo>
                  <a:lnTo>
                    <a:pt x="1365" y="206"/>
                  </a:lnTo>
                  <a:lnTo>
                    <a:pt x="1358" y="182"/>
                  </a:lnTo>
                  <a:lnTo>
                    <a:pt x="1349" y="158"/>
                  </a:lnTo>
                  <a:lnTo>
                    <a:pt x="1339" y="135"/>
                  </a:lnTo>
                  <a:lnTo>
                    <a:pt x="1325" y="115"/>
                  </a:lnTo>
                  <a:lnTo>
                    <a:pt x="1312" y="94"/>
                  </a:lnTo>
                  <a:lnTo>
                    <a:pt x="1295" y="75"/>
                  </a:lnTo>
                  <a:lnTo>
                    <a:pt x="1276" y="60"/>
                  </a:lnTo>
                  <a:lnTo>
                    <a:pt x="1257" y="45"/>
                  </a:lnTo>
                  <a:lnTo>
                    <a:pt x="1235" y="33"/>
                  </a:lnTo>
                  <a:lnTo>
                    <a:pt x="1212" y="21"/>
                  </a:lnTo>
                  <a:lnTo>
                    <a:pt x="1188" y="12"/>
                  </a:lnTo>
                  <a:lnTo>
                    <a:pt x="1164" y="5"/>
                  </a:lnTo>
                  <a:lnTo>
                    <a:pt x="1139" y="2"/>
                  </a:lnTo>
                  <a:lnTo>
                    <a:pt x="111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 Placeholder 15"/>
          <p:cNvSpPr>
            <a:spLocks noGrp="1"/>
          </p:cNvSpPr>
          <p:nvPr>
            <p:ph type="body" idx="4294967295"/>
          </p:nvPr>
        </p:nvSpPr>
        <p:spPr>
          <a:xfrm>
            <a:off x="2202733" y="5096649"/>
            <a:ext cx="5877623" cy="5878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600" dirty="0"/>
              <a:t>h</a:t>
            </a:r>
            <a:r>
              <a:rPr lang="en-US" sz="1600" cap="none" dirty="0" smtClean="0">
                <a:latin typeface="+mn-lt"/>
              </a:rPr>
              <a:t>ave shared their cinema </a:t>
            </a:r>
          </a:p>
          <a:p>
            <a:pPr algn="ctr"/>
            <a:r>
              <a:rPr lang="en-US" sz="1600" cap="none" dirty="0" smtClean="0">
                <a:latin typeface="+mn-lt"/>
              </a:rPr>
              <a:t>experience socially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5875835" y="5877890"/>
            <a:ext cx="477786" cy="477786"/>
            <a:chOff x="5875835" y="5877890"/>
            <a:chExt cx="477786" cy="477786"/>
          </a:xfrm>
        </p:grpSpPr>
        <p:grpSp>
          <p:nvGrpSpPr>
            <p:cNvPr id="57" name="Group 56"/>
            <p:cNvGrpSpPr/>
            <p:nvPr/>
          </p:nvGrpSpPr>
          <p:grpSpPr>
            <a:xfrm>
              <a:off x="5875835" y="5877890"/>
              <a:ext cx="477786" cy="477786"/>
              <a:chOff x="6377373" y="1300974"/>
              <a:chExt cx="846000" cy="846000"/>
            </a:xfrm>
          </p:grpSpPr>
          <p:pic>
            <p:nvPicPr>
              <p:cNvPr id="59" name="Picture 58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77373" y="1300974"/>
                <a:ext cx="846000" cy="846000"/>
              </a:xfrm>
              <a:prstGeom prst="rect">
                <a:avLst/>
              </a:prstGeom>
            </p:spPr>
          </p:pic>
          <p:sp>
            <p:nvSpPr>
              <p:cNvPr id="60" name="Oval 59"/>
              <p:cNvSpPr/>
              <p:nvPr/>
            </p:nvSpPr>
            <p:spPr>
              <a:xfrm>
                <a:off x="6493341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8" name="Freeform 5"/>
            <p:cNvSpPr>
              <a:spLocks noEditPoints="1"/>
            </p:cNvSpPr>
            <p:nvPr/>
          </p:nvSpPr>
          <p:spPr bwMode="auto">
            <a:xfrm>
              <a:off x="5989249" y="5998611"/>
              <a:ext cx="250958" cy="236344"/>
            </a:xfrm>
            <a:custGeom>
              <a:avLst/>
              <a:gdLst>
                <a:gd name="T0" fmla="*/ 2629 w 5770"/>
                <a:gd name="T1" fmla="*/ 5410 h 5434"/>
                <a:gd name="T2" fmla="*/ 2270 w 5770"/>
                <a:gd name="T3" fmla="*/ 5269 h 5434"/>
                <a:gd name="T4" fmla="*/ 1851 w 5770"/>
                <a:gd name="T5" fmla="*/ 4991 h 5434"/>
                <a:gd name="T6" fmla="*/ 1436 w 5770"/>
                <a:gd name="T7" fmla="*/ 4897 h 5434"/>
                <a:gd name="T8" fmla="*/ 1025 w 5770"/>
                <a:gd name="T9" fmla="*/ 4948 h 5434"/>
                <a:gd name="T10" fmla="*/ 905 w 5770"/>
                <a:gd name="T11" fmla="*/ 4925 h 5434"/>
                <a:gd name="T12" fmla="*/ 813 w 5770"/>
                <a:gd name="T13" fmla="*/ 4733 h 5434"/>
                <a:gd name="T14" fmla="*/ 751 w 5770"/>
                <a:gd name="T15" fmla="*/ 4572 h 5434"/>
                <a:gd name="T16" fmla="*/ 242 w 5770"/>
                <a:gd name="T17" fmla="*/ 4440 h 5434"/>
                <a:gd name="T18" fmla="*/ 26 w 5770"/>
                <a:gd name="T19" fmla="*/ 4286 h 5434"/>
                <a:gd name="T20" fmla="*/ 4 w 5770"/>
                <a:gd name="T21" fmla="*/ 4147 h 5434"/>
                <a:gd name="T22" fmla="*/ 75 w 5770"/>
                <a:gd name="T23" fmla="*/ 4055 h 5434"/>
                <a:gd name="T24" fmla="*/ 456 w 5770"/>
                <a:gd name="T25" fmla="*/ 3935 h 5434"/>
                <a:gd name="T26" fmla="*/ 973 w 5770"/>
                <a:gd name="T27" fmla="*/ 3516 h 5434"/>
                <a:gd name="T28" fmla="*/ 1250 w 5770"/>
                <a:gd name="T29" fmla="*/ 3071 h 5434"/>
                <a:gd name="T30" fmla="*/ 1273 w 5770"/>
                <a:gd name="T31" fmla="*/ 2911 h 5434"/>
                <a:gd name="T32" fmla="*/ 1006 w 5770"/>
                <a:gd name="T33" fmla="*/ 2744 h 5434"/>
                <a:gd name="T34" fmla="*/ 680 w 5770"/>
                <a:gd name="T35" fmla="*/ 2585 h 5434"/>
                <a:gd name="T36" fmla="*/ 578 w 5770"/>
                <a:gd name="T37" fmla="*/ 2380 h 5434"/>
                <a:gd name="T38" fmla="*/ 710 w 5770"/>
                <a:gd name="T39" fmla="*/ 2196 h 5434"/>
                <a:gd name="T40" fmla="*/ 899 w 5770"/>
                <a:gd name="T41" fmla="*/ 2147 h 5434"/>
                <a:gd name="T42" fmla="*/ 1151 w 5770"/>
                <a:gd name="T43" fmla="*/ 2220 h 5434"/>
                <a:gd name="T44" fmla="*/ 1322 w 5770"/>
                <a:gd name="T45" fmla="*/ 2222 h 5434"/>
                <a:gd name="T46" fmla="*/ 1294 w 5770"/>
                <a:gd name="T47" fmla="*/ 1411 h 5434"/>
                <a:gd name="T48" fmla="*/ 1386 w 5770"/>
                <a:gd name="T49" fmla="*/ 943 h 5434"/>
                <a:gd name="T50" fmla="*/ 1639 w 5770"/>
                <a:gd name="T51" fmla="*/ 530 h 5434"/>
                <a:gd name="T52" fmla="*/ 2043 w 5770"/>
                <a:gd name="T53" fmla="*/ 205 h 5434"/>
                <a:gd name="T54" fmla="*/ 2497 w 5770"/>
                <a:gd name="T55" fmla="*/ 41 h 5434"/>
                <a:gd name="T56" fmla="*/ 3213 w 5770"/>
                <a:gd name="T57" fmla="*/ 26 h 5434"/>
                <a:gd name="T58" fmla="*/ 3783 w 5770"/>
                <a:gd name="T59" fmla="*/ 239 h 5434"/>
                <a:gd name="T60" fmla="*/ 4258 w 5770"/>
                <a:gd name="T61" fmla="*/ 706 h 5434"/>
                <a:gd name="T62" fmla="*/ 4444 w 5770"/>
                <a:gd name="T63" fmla="*/ 1157 h 5434"/>
                <a:gd name="T64" fmla="*/ 4473 w 5770"/>
                <a:gd name="T65" fmla="*/ 1730 h 5434"/>
                <a:gd name="T66" fmla="*/ 4493 w 5770"/>
                <a:gd name="T67" fmla="*/ 2233 h 5434"/>
                <a:gd name="T68" fmla="*/ 4739 w 5770"/>
                <a:gd name="T69" fmla="*/ 2169 h 5434"/>
                <a:gd name="T70" fmla="*/ 4961 w 5770"/>
                <a:gd name="T71" fmla="*/ 2154 h 5434"/>
                <a:gd name="T72" fmla="*/ 5130 w 5770"/>
                <a:gd name="T73" fmla="*/ 2254 h 5434"/>
                <a:gd name="T74" fmla="*/ 5190 w 5770"/>
                <a:gd name="T75" fmla="*/ 2414 h 5434"/>
                <a:gd name="T76" fmla="*/ 5092 w 5770"/>
                <a:gd name="T77" fmla="*/ 2581 h 5434"/>
                <a:gd name="T78" fmla="*/ 4730 w 5770"/>
                <a:gd name="T79" fmla="*/ 2756 h 5434"/>
                <a:gd name="T80" fmla="*/ 4546 w 5770"/>
                <a:gd name="T81" fmla="*/ 2842 h 5434"/>
                <a:gd name="T82" fmla="*/ 4486 w 5770"/>
                <a:gd name="T83" fmla="*/ 2979 h 5434"/>
                <a:gd name="T84" fmla="*/ 4600 w 5770"/>
                <a:gd name="T85" fmla="*/ 3240 h 5434"/>
                <a:gd name="T86" fmla="*/ 4867 w 5770"/>
                <a:gd name="T87" fmla="*/ 3601 h 5434"/>
                <a:gd name="T88" fmla="*/ 5152 w 5770"/>
                <a:gd name="T89" fmla="*/ 3845 h 5434"/>
                <a:gd name="T90" fmla="*/ 5498 w 5770"/>
                <a:gd name="T91" fmla="*/ 4006 h 5434"/>
                <a:gd name="T92" fmla="*/ 5680 w 5770"/>
                <a:gd name="T93" fmla="*/ 4052 h 5434"/>
                <a:gd name="T94" fmla="*/ 5766 w 5770"/>
                <a:gd name="T95" fmla="*/ 4155 h 5434"/>
                <a:gd name="T96" fmla="*/ 5723 w 5770"/>
                <a:gd name="T97" fmla="*/ 4307 h 5434"/>
                <a:gd name="T98" fmla="*/ 5483 w 5770"/>
                <a:gd name="T99" fmla="*/ 4459 h 5434"/>
                <a:gd name="T100" fmla="*/ 5010 w 5770"/>
                <a:gd name="T101" fmla="*/ 4574 h 5434"/>
                <a:gd name="T102" fmla="*/ 4942 w 5770"/>
                <a:gd name="T103" fmla="*/ 4784 h 5434"/>
                <a:gd name="T104" fmla="*/ 4833 w 5770"/>
                <a:gd name="T105" fmla="*/ 4934 h 5434"/>
                <a:gd name="T106" fmla="*/ 4580 w 5770"/>
                <a:gd name="T107" fmla="*/ 4923 h 5434"/>
                <a:gd name="T108" fmla="*/ 4180 w 5770"/>
                <a:gd name="T109" fmla="*/ 4906 h 5434"/>
                <a:gd name="T110" fmla="*/ 3849 w 5770"/>
                <a:gd name="T111" fmla="*/ 5030 h 5434"/>
                <a:gd name="T112" fmla="*/ 3515 w 5770"/>
                <a:gd name="T113" fmla="*/ 5259 h 5434"/>
                <a:gd name="T114" fmla="*/ 3119 w 5770"/>
                <a:gd name="T115" fmla="*/ 5413 h 5434"/>
                <a:gd name="T116" fmla="*/ 1322 w 5770"/>
                <a:gd name="T117" fmla="*/ 2222 h 5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70" h="5434">
                  <a:moveTo>
                    <a:pt x="2882" y="5434"/>
                  </a:moveTo>
                  <a:lnTo>
                    <a:pt x="2882" y="5434"/>
                  </a:lnTo>
                  <a:lnTo>
                    <a:pt x="2839" y="5434"/>
                  </a:lnTo>
                  <a:lnTo>
                    <a:pt x="2839" y="5434"/>
                  </a:lnTo>
                  <a:lnTo>
                    <a:pt x="2798" y="5432"/>
                  </a:lnTo>
                  <a:lnTo>
                    <a:pt x="2754" y="5428"/>
                  </a:lnTo>
                  <a:lnTo>
                    <a:pt x="2713" y="5423"/>
                  </a:lnTo>
                  <a:lnTo>
                    <a:pt x="2670" y="5417"/>
                  </a:lnTo>
                  <a:lnTo>
                    <a:pt x="2629" y="5410"/>
                  </a:lnTo>
                  <a:lnTo>
                    <a:pt x="2587" y="5400"/>
                  </a:lnTo>
                  <a:lnTo>
                    <a:pt x="2548" y="5389"/>
                  </a:lnTo>
                  <a:lnTo>
                    <a:pt x="2507" y="5376"/>
                  </a:lnTo>
                  <a:lnTo>
                    <a:pt x="2467" y="5363"/>
                  </a:lnTo>
                  <a:lnTo>
                    <a:pt x="2426" y="5346"/>
                  </a:lnTo>
                  <a:lnTo>
                    <a:pt x="2386" y="5329"/>
                  </a:lnTo>
                  <a:lnTo>
                    <a:pt x="2347" y="5310"/>
                  </a:lnTo>
                  <a:lnTo>
                    <a:pt x="2308" y="5289"/>
                  </a:lnTo>
                  <a:lnTo>
                    <a:pt x="2270" y="5269"/>
                  </a:lnTo>
                  <a:lnTo>
                    <a:pt x="2231" y="5244"/>
                  </a:lnTo>
                  <a:lnTo>
                    <a:pt x="2191" y="5220"/>
                  </a:lnTo>
                  <a:lnTo>
                    <a:pt x="2191" y="5220"/>
                  </a:lnTo>
                  <a:lnTo>
                    <a:pt x="2088" y="5150"/>
                  </a:lnTo>
                  <a:lnTo>
                    <a:pt x="1986" y="5081"/>
                  </a:lnTo>
                  <a:lnTo>
                    <a:pt x="1986" y="5081"/>
                  </a:lnTo>
                  <a:lnTo>
                    <a:pt x="1894" y="5017"/>
                  </a:lnTo>
                  <a:lnTo>
                    <a:pt x="1894" y="5017"/>
                  </a:lnTo>
                  <a:lnTo>
                    <a:pt x="1851" y="4991"/>
                  </a:lnTo>
                  <a:lnTo>
                    <a:pt x="1806" y="4968"/>
                  </a:lnTo>
                  <a:lnTo>
                    <a:pt x="1759" y="4948"/>
                  </a:lnTo>
                  <a:lnTo>
                    <a:pt x="1710" y="4931"/>
                  </a:lnTo>
                  <a:lnTo>
                    <a:pt x="1660" y="4917"/>
                  </a:lnTo>
                  <a:lnTo>
                    <a:pt x="1605" y="4908"/>
                  </a:lnTo>
                  <a:lnTo>
                    <a:pt x="1547" y="4901"/>
                  </a:lnTo>
                  <a:lnTo>
                    <a:pt x="1487" y="4897"/>
                  </a:lnTo>
                  <a:lnTo>
                    <a:pt x="1487" y="4897"/>
                  </a:lnTo>
                  <a:lnTo>
                    <a:pt x="1436" y="4897"/>
                  </a:lnTo>
                  <a:lnTo>
                    <a:pt x="1386" y="4899"/>
                  </a:lnTo>
                  <a:lnTo>
                    <a:pt x="1335" y="4902"/>
                  </a:lnTo>
                  <a:lnTo>
                    <a:pt x="1286" y="4908"/>
                  </a:lnTo>
                  <a:lnTo>
                    <a:pt x="1237" y="4914"/>
                  </a:lnTo>
                  <a:lnTo>
                    <a:pt x="1188" y="4921"/>
                  </a:lnTo>
                  <a:lnTo>
                    <a:pt x="1095" y="4938"/>
                  </a:lnTo>
                  <a:lnTo>
                    <a:pt x="1095" y="4938"/>
                  </a:lnTo>
                  <a:lnTo>
                    <a:pt x="1050" y="4946"/>
                  </a:lnTo>
                  <a:lnTo>
                    <a:pt x="1025" y="4948"/>
                  </a:lnTo>
                  <a:lnTo>
                    <a:pt x="1001" y="4949"/>
                  </a:lnTo>
                  <a:lnTo>
                    <a:pt x="1001" y="4949"/>
                  </a:lnTo>
                  <a:lnTo>
                    <a:pt x="999" y="4949"/>
                  </a:lnTo>
                  <a:lnTo>
                    <a:pt x="999" y="4949"/>
                  </a:lnTo>
                  <a:lnTo>
                    <a:pt x="969" y="4948"/>
                  </a:lnTo>
                  <a:lnTo>
                    <a:pt x="942" y="4942"/>
                  </a:lnTo>
                  <a:lnTo>
                    <a:pt x="929" y="4936"/>
                  </a:lnTo>
                  <a:lnTo>
                    <a:pt x="918" y="4931"/>
                  </a:lnTo>
                  <a:lnTo>
                    <a:pt x="905" y="4925"/>
                  </a:lnTo>
                  <a:lnTo>
                    <a:pt x="896" y="4917"/>
                  </a:lnTo>
                  <a:lnTo>
                    <a:pt x="884" y="4908"/>
                  </a:lnTo>
                  <a:lnTo>
                    <a:pt x="875" y="4901"/>
                  </a:lnTo>
                  <a:lnTo>
                    <a:pt x="867" y="4889"/>
                  </a:lnTo>
                  <a:lnTo>
                    <a:pt x="860" y="4878"/>
                  </a:lnTo>
                  <a:lnTo>
                    <a:pt x="847" y="4854"/>
                  </a:lnTo>
                  <a:lnTo>
                    <a:pt x="837" y="4827"/>
                  </a:lnTo>
                  <a:lnTo>
                    <a:pt x="837" y="4827"/>
                  </a:lnTo>
                  <a:lnTo>
                    <a:pt x="813" y="4733"/>
                  </a:lnTo>
                  <a:lnTo>
                    <a:pt x="790" y="4641"/>
                  </a:lnTo>
                  <a:lnTo>
                    <a:pt x="790" y="4641"/>
                  </a:lnTo>
                  <a:lnTo>
                    <a:pt x="779" y="4598"/>
                  </a:lnTo>
                  <a:lnTo>
                    <a:pt x="779" y="4598"/>
                  </a:lnTo>
                  <a:lnTo>
                    <a:pt x="775" y="4587"/>
                  </a:lnTo>
                  <a:lnTo>
                    <a:pt x="772" y="4579"/>
                  </a:lnTo>
                  <a:lnTo>
                    <a:pt x="764" y="4576"/>
                  </a:lnTo>
                  <a:lnTo>
                    <a:pt x="751" y="4572"/>
                  </a:lnTo>
                  <a:lnTo>
                    <a:pt x="751" y="4572"/>
                  </a:lnTo>
                  <a:lnTo>
                    <a:pt x="621" y="4551"/>
                  </a:lnTo>
                  <a:lnTo>
                    <a:pt x="559" y="4538"/>
                  </a:lnTo>
                  <a:lnTo>
                    <a:pt x="499" y="4525"/>
                  </a:lnTo>
                  <a:lnTo>
                    <a:pt x="439" y="4510"/>
                  </a:lnTo>
                  <a:lnTo>
                    <a:pt x="381" y="4493"/>
                  </a:lnTo>
                  <a:lnTo>
                    <a:pt x="323" y="4474"/>
                  </a:lnTo>
                  <a:lnTo>
                    <a:pt x="267" y="4452"/>
                  </a:lnTo>
                  <a:lnTo>
                    <a:pt x="267" y="4452"/>
                  </a:lnTo>
                  <a:lnTo>
                    <a:pt x="242" y="4440"/>
                  </a:lnTo>
                  <a:lnTo>
                    <a:pt x="216" y="4427"/>
                  </a:lnTo>
                  <a:lnTo>
                    <a:pt x="169" y="4401"/>
                  </a:lnTo>
                  <a:lnTo>
                    <a:pt x="124" y="4373"/>
                  </a:lnTo>
                  <a:lnTo>
                    <a:pt x="82" y="4345"/>
                  </a:lnTo>
                  <a:lnTo>
                    <a:pt x="82" y="4345"/>
                  </a:lnTo>
                  <a:lnTo>
                    <a:pt x="66" y="4331"/>
                  </a:lnTo>
                  <a:lnTo>
                    <a:pt x="51" y="4318"/>
                  </a:lnTo>
                  <a:lnTo>
                    <a:pt x="37" y="4303"/>
                  </a:lnTo>
                  <a:lnTo>
                    <a:pt x="26" y="4286"/>
                  </a:lnTo>
                  <a:lnTo>
                    <a:pt x="17" y="4268"/>
                  </a:lnTo>
                  <a:lnTo>
                    <a:pt x="9" y="4249"/>
                  </a:lnTo>
                  <a:lnTo>
                    <a:pt x="4" y="4228"/>
                  </a:lnTo>
                  <a:lnTo>
                    <a:pt x="0" y="4207"/>
                  </a:lnTo>
                  <a:lnTo>
                    <a:pt x="0" y="4207"/>
                  </a:lnTo>
                  <a:lnTo>
                    <a:pt x="0" y="4191"/>
                  </a:lnTo>
                  <a:lnTo>
                    <a:pt x="0" y="4176"/>
                  </a:lnTo>
                  <a:lnTo>
                    <a:pt x="0" y="4162"/>
                  </a:lnTo>
                  <a:lnTo>
                    <a:pt x="4" y="4147"/>
                  </a:lnTo>
                  <a:lnTo>
                    <a:pt x="7" y="4134"/>
                  </a:lnTo>
                  <a:lnTo>
                    <a:pt x="13" y="4121"/>
                  </a:lnTo>
                  <a:lnTo>
                    <a:pt x="19" y="4110"/>
                  </a:lnTo>
                  <a:lnTo>
                    <a:pt x="26" y="4099"/>
                  </a:lnTo>
                  <a:lnTo>
                    <a:pt x="34" y="4087"/>
                  </a:lnTo>
                  <a:lnTo>
                    <a:pt x="43" y="4078"/>
                  </a:lnTo>
                  <a:lnTo>
                    <a:pt x="52" y="4068"/>
                  </a:lnTo>
                  <a:lnTo>
                    <a:pt x="64" y="4061"/>
                  </a:lnTo>
                  <a:lnTo>
                    <a:pt x="75" y="4055"/>
                  </a:lnTo>
                  <a:lnTo>
                    <a:pt x="88" y="4050"/>
                  </a:lnTo>
                  <a:lnTo>
                    <a:pt x="101" y="4044"/>
                  </a:lnTo>
                  <a:lnTo>
                    <a:pt x="116" y="4042"/>
                  </a:lnTo>
                  <a:lnTo>
                    <a:pt x="116" y="4042"/>
                  </a:lnTo>
                  <a:lnTo>
                    <a:pt x="188" y="4027"/>
                  </a:lnTo>
                  <a:lnTo>
                    <a:pt x="257" y="4008"/>
                  </a:lnTo>
                  <a:lnTo>
                    <a:pt x="325" y="3988"/>
                  </a:lnTo>
                  <a:lnTo>
                    <a:pt x="392" y="3963"/>
                  </a:lnTo>
                  <a:lnTo>
                    <a:pt x="456" y="3935"/>
                  </a:lnTo>
                  <a:lnTo>
                    <a:pt x="520" y="3901"/>
                  </a:lnTo>
                  <a:lnTo>
                    <a:pt x="582" y="3867"/>
                  </a:lnTo>
                  <a:lnTo>
                    <a:pt x="642" y="3828"/>
                  </a:lnTo>
                  <a:lnTo>
                    <a:pt x="700" y="3785"/>
                  </a:lnTo>
                  <a:lnTo>
                    <a:pt x="758" y="3738"/>
                  </a:lnTo>
                  <a:lnTo>
                    <a:pt x="815" y="3689"/>
                  </a:lnTo>
                  <a:lnTo>
                    <a:pt x="869" y="3635"/>
                  </a:lnTo>
                  <a:lnTo>
                    <a:pt x="922" y="3578"/>
                  </a:lnTo>
                  <a:lnTo>
                    <a:pt x="973" y="3516"/>
                  </a:lnTo>
                  <a:lnTo>
                    <a:pt x="1023" y="3452"/>
                  </a:lnTo>
                  <a:lnTo>
                    <a:pt x="1074" y="3385"/>
                  </a:lnTo>
                  <a:lnTo>
                    <a:pt x="1074" y="3385"/>
                  </a:lnTo>
                  <a:lnTo>
                    <a:pt x="1111" y="3325"/>
                  </a:lnTo>
                  <a:lnTo>
                    <a:pt x="1147" y="3265"/>
                  </a:lnTo>
                  <a:lnTo>
                    <a:pt x="1181" y="3203"/>
                  </a:lnTo>
                  <a:lnTo>
                    <a:pt x="1213" y="3141"/>
                  </a:lnTo>
                  <a:lnTo>
                    <a:pt x="1213" y="3141"/>
                  </a:lnTo>
                  <a:lnTo>
                    <a:pt x="1250" y="3071"/>
                  </a:lnTo>
                  <a:lnTo>
                    <a:pt x="1250" y="3071"/>
                  </a:lnTo>
                  <a:lnTo>
                    <a:pt x="1260" y="3052"/>
                  </a:lnTo>
                  <a:lnTo>
                    <a:pt x="1267" y="3032"/>
                  </a:lnTo>
                  <a:lnTo>
                    <a:pt x="1273" y="3009"/>
                  </a:lnTo>
                  <a:lnTo>
                    <a:pt x="1277" y="2983"/>
                  </a:lnTo>
                  <a:lnTo>
                    <a:pt x="1277" y="2983"/>
                  </a:lnTo>
                  <a:lnTo>
                    <a:pt x="1280" y="2958"/>
                  </a:lnTo>
                  <a:lnTo>
                    <a:pt x="1279" y="2934"/>
                  </a:lnTo>
                  <a:lnTo>
                    <a:pt x="1273" y="2911"/>
                  </a:lnTo>
                  <a:lnTo>
                    <a:pt x="1265" y="2891"/>
                  </a:lnTo>
                  <a:lnTo>
                    <a:pt x="1254" y="2872"/>
                  </a:lnTo>
                  <a:lnTo>
                    <a:pt x="1237" y="2855"/>
                  </a:lnTo>
                  <a:lnTo>
                    <a:pt x="1218" y="2840"/>
                  </a:lnTo>
                  <a:lnTo>
                    <a:pt x="1198" y="2827"/>
                  </a:lnTo>
                  <a:lnTo>
                    <a:pt x="1198" y="2827"/>
                  </a:lnTo>
                  <a:lnTo>
                    <a:pt x="1136" y="2797"/>
                  </a:lnTo>
                  <a:lnTo>
                    <a:pt x="1070" y="2769"/>
                  </a:lnTo>
                  <a:lnTo>
                    <a:pt x="1006" y="2744"/>
                  </a:lnTo>
                  <a:lnTo>
                    <a:pt x="939" y="2718"/>
                  </a:lnTo>
                  <a:lnTo>
                    <a:pt x="939" y="2718"/>
                  </a:lnTo>
                  <a:lnTo>
                    <a:pt x="873" y="2694"/>
                  </a:lnTo>
                  <a:lnTo>
                    <a:pt x="839" y="2678"/>
                  </a:lnTo>
                  <a:lnTo>
                    <a:pt x="807" y="2663"/>
                  </a:lnTo>
                  <a:lnTo>
                    <a:pt x="773" y="2647"/>
                  </a:lnTo>
                  <a:lnTo>
                    <a:pt x="742" y="2630"/>
                  </a:lnTo>
                  <a:lnTo>
                    <a:pt x="710" y="2609"/>
                  </a:lnTo>
                  <a:lnTo>
                    <a:pt x="680" y="2585"/>
                  </a:lnTo>
                  <a:lnTo>
                    <a:pt x="680" y="2585"/>
                  </a:lnTo>
                  <a:lnTo>
                    <a:pt x="655" y="2564"/>
                  </a:lnTo>
                  <a:lnTo>
                    <a:pt x="633" y="2539"/>
                  </a:lnTo>
                  <a:lnTo>
                    <a:pt x="614" y="2515"/>
                  </a:lnTo>
                  <a:lnTo>
                    <a:pt x="599" y="2489"/>
                  </a:lnTo>
                  <a:lnTo>
                    <a:pt x="588" y="2462"/>
                  </a:lnTo>
                  <a:lnTo>
                    <a:pt x="580" y="2436"/>
                  </a:lnTo>
                  <a:lnTo>
                    <a:pt x="578" y="2408"/>
                  </a:lnTo>
                  <a:lnTo>
                    <a:pt x="578" y="2380"/>
                  </a:lnTo>
                  <a:lnTo>
                    <a:pt x="578" y="2380"/>
                  </a:lnTo>
                  <a:lnTo>
                    <a:pt x="582" y="2354"/>
                  </a:lnTo>
                  <a:lnTo>
                    <a:pt x="589" y="2327"/>
                  </a:lnTo>
                  <a:lnTo>
                    <a:pt x="601" y="2301"/>
                  </a:lnTo>
                  <a:lnTo>
                    <a:pt x="616" y="2277"/>
                  </a:lnTo>
                  <a:lnTo>
                    <a:pt x="635" y="2254"/>
                  </a:lnTo>
                  <a:lnTo>
                    <a:pt x="657" y="2233"/>
                  </a:lnTo>
                  <a:lnTo>
                    <a:pt x="681" y="2213"/>
                  </a:lnTo>
                  <a:lnTo>
                    <a:pt x="710" y="2196"/>
                  </a:lnTo>
                  <a:lnTo>
                    <a:pt x="710" y="2196"/>
                  </a:lnTo>
                  <a:lnTo>
                    <a:pt x="747" y="2177"/>
                  </a:lnTo>
                  <a:lnTo>
                    <a:pt x="785" y="2162"/>
                  </a:lnTo>
                  <a:lnTo>
                    <a:pt x="804" y="2156"/>
                  </a:lnTo>
                  <a:lnTo>
                    <a:pt x="822" y="2153"/>
                  </a:lnTo>
                  <a:lnTo>
                    <a:pt x="841" y="2149"/>
                  </a:lnTo>
                  <a:lnTo>
                    <a:pt x="860" y="2147"/>
                  </a:lnTo>
                  <a:lnTo>
                    <a:pt x="881" y="2147"/>
                  </a:lnTo>
                  <a:lnTo>
                    <a:pt x="899" y="2147"/>
                  </a:lnTo>
                  <a:lnTo>
                    <a:pt x="918" y="2149"/>
                  </a:lnTo>
                  <a:lnTo>
                    <a:pt x="937" y="2153"/>
                  </a:lnTo>
                  <a:lnTo>
                    <a:pt x="956" y="2156"/>
                  </a:lnTo>
                  <a:lnTo>
                    <a:pt x="974" y="2162"/>
                  </a:lnTo>
                  <a:lnTo>
                    <a:pt x="1012" y="2177"/>
                  </a:lnTo>
                  <a:lnTo>
                    <a:pt x="1012" y="2177"/>
                  </a:lnTo>
                  <a:lnTo>
                    <a:pt x="1053" y="2192"/>
                  </a:lnTo>
                  <a:lnTo>
                    <a:pt x="1100" y="2207"/>
                  </a:lnTo>
                  <a:lnTo>
                    <a:pt x="1151" y="2220"/>
                  </a:lnTo>
                  <a:lnTo>
                    <a:pt x="1211" y="2233"/>
                  </a:lnTo>
                  <a:lnTo>
                    <a:pt x="1211" y="2233"/>
                  </a:lnTo>
                  <a:lnTo>
                    <a:pt x="1228" y="2233"/>
                  </a:lnTo>
                  <a:lnTo>
                    <a:pt x="1245" y="2233"/>
                  </a:lnTo>
                  <a:lnTo>
                    <a:pt x="1282" y="2228"/>
                  </a:lnTo>
                  <a:lnTo>
                    <a:pt x="1282" y="2228"/>
                  </a:lnTo>
                  <a:lnTo>
                    <a:pt x="1318" y="2222"/>
                  </a:lnTo>
                  <a:lnTo>
                    <a:pt x="1318" y="2222"/>
                  </a:lnTo>
                  <a:lnTo>
                    <a:pt x="1322" y="2222"/>
                  </a:lnTo>
                  <a:lnTo>
                    <a:pt x="1322" y="2222"/>
                  </a:lnTo>
                  <a:lnTo>
                    <a:pt x="1320" y="2207"/>
                  </a:lnTo>
                  <a:lnTo>
                    <a:pt x="1320" y="2207"/>
                  </a:lnTo>
                  <a:lnTo>
                    <a:pt x="1307" y="1982"/>
                  </a:lnTo>
                  <a:lnTo>
                    <a:pt x="1297" y="1777"/>
                  </a:lnTo>
                  <a:lnTo>
                    <a:pt x="1294" y="1681"/>
                  </a:lnTo>
                  <a:lnTo>
                    <a:pt x="1294" y="1587"/>
                  </a:lnTo>
                  <a:lnTo>
                    <a:pt x="1292" y="1499"/>
                  </a:lnTo>
                  <a:lnTo>
                    <a:pt x="1294" y="1411"/>
                  </a:lnTo>
                  <a:lnTo>
                    <a:pt x="1294" y="1411"/>
                  </a:lnTo>
                  <a:lnTo>
                    <a:pt x="1295" y="1349"/>
                  </a:lnTo>
                  <a:lnTo>
                    <a:pt x="1301" y="1289"/>
                  </a:lnTo>
                  <a:lnTo>
                    <a:pt x="1309" y="1230"/>
                  </a:lnTo>
                  <a:lnTo>
                    <a:pt x="1320" y="1170"/>
                  </a:lnTo>
                  <a:lnTo>
                    <a:pt x="1333" y="1112"/>
                  </a:lnTo>
                  <a:lnTo>
                    <a:pt x="1348" y="1056"/>
                  </a:lnTo>
                  <a:lnTo>
                    <a:pt x="1367" y="997"/>
                  </a:lnTo>
                  <a:lnTo>
                    <a:pt x="1386" y="943"/>
                  </a:lnTo>
                  <a:lnTo>
                    <a:pt x="1410" y="887"/>
                  </a:lnTo>
                  <a:lnTo>
                    <a:pt x="1434" y="832"/>
                  </a:lnTo>
                  <a:lnTo>
                    <a:pt x="1463" y="780"/>
                  </a:lnTo>
                  <a:lnTo>
                    <a:pt x="1495" y="727"/>
                  </a:lnTo>
                  <a:lnTo>
                    <a:pt x="1526" y="676"/>
                  </a:lnTo>
                  <a:lnTo>
                    <a:pt x="1562" y="625"/>
                  </a:lnTo>
                  <a:lnTo>
                    <a:pt x="1600" y="577"/>
                  </a:lnTo>
                  <a:lnTo>
                    <a:pt x="1639" y="530"/>
                  </a:lnTo>
                  <a:lnTo>
                    <a:pt x="1639" y="530"/>
                  </a:lnTo>
                  <a:lnTo>
                    <a:pt x="1679" y="486"/>
                  </a:lnTo>
                  <a:lnTo>
                    <a:pt x="1720" y="445"/>
                  </a:lnTo>
                  <a:lnTo>
                    <a:pt x="1761" y="406"/>
                  </a:lnTo>
                  <a:lnTo>
                    <a:pt x="1804" y="366"/>
                  </a:lnTo>
                  <a:lnTo>
                    <a:pt x="1849" y="331"/>
                  </a:lnTo>
                  <a:lnTo>
                    <a:pt x="1896" y="297"/>
                  </a:lnTo>
                  <a:lnTo>
                    <a:pt x="1943" y="263"/>
                  </a:lnTo>
                  <a:lnTo>
                    <a:pt x="1992" y="233"/>
                  </a:lnTo>
                  <a:lnTo>
                    <a:pt x="2043" y="205"/>
                  </a:lnTo>
                  <a:lnTo>
                    <a:pt x="2093" y="177"/>
                  </a:lnTo>
                  <a:lnTo>
                    <a:pt x="2144" y="152"/>
                  </a:lnTo>
                  <a:lnTo>
                    <a:pt x="2197" y="130"/>
                  </a:lnTo>
                  <a:lnTo>
                    <a:pt x="2249" y="109"/>
                  </a:lnTo>
                  <a:lnTo>
                    <a:pt x="2304" y="90"/>
                  </a:lnTo>
                  <a:lnTo>
                    <a:pt x="2358" y="73"/>
                  </a:lnTo>
                  <a:lnTo>
                    <a:pt x="2415" y="58"/>
                  </a:lnTo>
                  <a:lnTo>
                    <a:pt x="2415" y="58"/>
                  </a:lnTo>
                  <a:lnTo>
                    <a:pt x="2497" y="41"/>
                  </a:lnTo>
                  <a:lnTo>
                    <a:pt x="2580" y="26"/>
                  </a:lnTo>
                  <a:lnTo>
                    <a:pt x="2662" y="15"/>
                  </a:lnTo>
                  <a:lnTo>
                    <a:pt x="2743" y="6"/>
                  </a:lnTo>
                  <a:lnTo>
                    <a:pt x="2824" y="2"/>
                  </a:lnTo>
                  <a:lnTo>
                    <a:pt x="2903" y="0"/>
                  </a:lnTo>
                  <a:lnTo>
                    <a:pt x="2982" y="2"/>
                  </a:lnTo>
                  <a:lnTo>
                    <a:pt x="3061" y="6"/>
                  </a:lnTo>
                  <a:lnTo>
                    <a:pt x="3136" y="15"/>
                  </a:lnTo>
                  <a:lnTo>
                    <a:pt x="3213" y="26"/>
                  </a:lnTo>
                  <a:lnTo>
                    <a:pt x="3288" y="41"/>
                  </a:lnTo>
                  <a:lnTo>
                    <a:pt x="3361" y="60"/>
                  </a:lnTo>
                  <a:lnTo>
                    <a:pt x="3434" y="81"/>
                  </a:lnTo>
                  <a:lnTo>
                    <a:pt x="3506" y="105"/>
                  </a:lnTo>
                  <a:lnTo>
                    <a:pt x="3577" y="133"/>
                  </a:lnTo>
                  <a:lnTo>
                    <a:pt x="3646" y="165"/>
                  </a:lnTo>
                  <a:lnTo>
                    <a:pt x="3646" y="165"/>
                  </a:lnTo>
                  <a:lnTo>
                    <a:pt x="3716" y="201"/>
                  </a:lnTo>
                  <a:lnTo>
                    <a:pt x="3783" y="239"/>
                  </a:lnTo>
                  <a:lnTo>
                    <a:pt x="3847" y="280"/>
                  </a:lnTo>
                  <a:lnTo>
                    <a:pt x="3909" y="323"/>
                  </a:lnTo>
                  <a:lnTo>
                    <a:pt x="3967" y="370"/>
                  </a:lnTo>
                  <a:lnTo>
                    <a:pt x="4024" y="419"/>
                  </a:lnTo>
                  <a:lnTo>
                    <a:pt x="4076" y="471"/>
                  </a:lnTo>
                  <a:lnTo>
                    <a:pt x="4125" y="526"/>
                  </a:lnTo>
                  <a:lnTo>
                    <a:pt x="4172" y="584"/>
                  </a:lnTo>
                  <a:lnTo>
                    <a:pt x="4217" y="644"/>
                  </a:lnTo>
                  <a:lnTo>
                    <a:pt x="4258" y="706"/>
                  </a:lnTo>
                  <a:lnTo>
                    <a:pt x="4296" y="772"/>
                  </a:lnTo>
                  <a:lnTo>
                    <a:pt x="4332" y="840"/>
                  </a:lnTo>
                  <a:lnTo>
                    <a:pt x="4365" y="909"/>
                  </a:lnTo>
                  <a:lnTo>
                    <a:pt x="4396" y="982"/>
                  </a:lnTo>
                  <a:lnTo>
                    <a:pt x="4422" y="1057"/>
                  </a:lnTo>
                  <a:lnTo>
                    <a:pt x="4422" y="1057"/>
                  </a:lnTo>
                  <a:lnTo>
                    <a:pt x="4431" y="1091"/>
                  </a:lnTo>
                  <a:lnTo>
                    <a:pt x="4439" y="1123"/>
                  </a:lnTo>
                  <a:lnTo>
                    <a:pt x="4444" y="1157"/>
                  </a:lnTo>
                  <a:lnTo>
                    <a:pt x="4448" y="1189"/>
                  </a:lnTo>
                  <a:lnTo>
                    <a:pt x="4448" y="1189"/>
                  </a:lnTo>
                  <a:lnTo>
                    <a:pt x="4461" y="1335"/>
                  </a:lnTo>
                  <a:lnTo>
                    <a:pt x="4473" y="1478"/>
                  </a:lnTo>
                  <a:lnTo>
                    <a:pt x="4473" y="1478"/>
                  </a:lnTo>
                  <a:lnTo>
                    <a:pt x="4480" y="1580"/>
                  </a:lnTo>
                  <a:lnTo>
                    <a:pt x="4480" y="1582"/>
                  </a:lnTo>
                  <a:lnTo>
                    <a:pt x="4480" y="1582"/>
                  </a:lnTo>
                  <a:lnTo>
                    <a:pt x="4473" y="1730"/>
                  </a:lnTo>
                  <a:lnTo>
                    <a:pt x="4473" y="1730"/>
                  </a:lnTo>
                  <a:lnTo>
                    <a:pt x="4446" y="2215"/>
                  </a:lnTo>
                  <a:lnTo>
                    <a:pt x="4446" y="2215"/>
                  </a:lnTo>
                  <a:lnTo>
                    <a:pt x="4446" y="2220"/>
                  </a:lnTo>
                  <a:lnTo>
                    <a:pt x="4446" y="2220"/>
                  </a:lnTo>
                  <a:lnTo>
                    <a:pt x="4452" y="2224"/>
                  </a:lnTo>
                  <a:lnTo>
                    <a:pt x="4452" y="2224"/>
                  </a:lnTo>
                  <a:lnTo>
                    <a:pt x="4473" y="2230"/>
                  </a:lnTo>
                  <a:lnTo>
                    <a:pt x="4493" y="2233"/>
                  </a:lnTo>
                  <a:lnTo>
                    <a:pt x="4514" y="2233"/>
                  </a:lnTo>
                  <a:lnTo>
                    <a:pt x="4533" y="2233"/>
                  </a:lnTo>
                  <a:lnTo>
                    <a:pt x="4553" y="2231"/>
                  </a:lnTo>
                  <a:lnTo>
                    <a:pt x="4572" y="2228"/>
                  </a:lnTo>
                  <a:lnTo>
                    <a:pt x="4608" y="2218"/>
                  </a:lnTo>
                  <a:lnTo>
                    <a:pt x="4608" y="2218"/>
                  </a:lnTo>
                  <a:lnTo>
                    <a:pt x="4670" y="2198"/>
                  </a:lnTo>
                  <a:lnTo>
                    <a:pt x="4739" y="2169"/>
                  </a:lnTo>
                  <a:lnTo>
                    <a:pt x="4739" y="2169"/>
                  </a:lnTo>
                  <a:lnTo>
                    <a:pt x="4762" y="2162"/>
                  </a:lnTo>
                  <a:lnTo>
                    <a:pt x="4786" y="2154"/>
                  </a:lnTo>
                  <a:lnTo>
                    <a:pt x="4811" y="2149"/>
                  </a:lnTo>
                  <a:lnTo>
                    <a:pt x="4835" y="2145"/>
                  </a:lnTo>
                  <a:lnTo>
                    <a:pt x="4861" y="2145"/>
                  </a:lnTo>
                  <a:lnTo>
                    <a:pt x="4886" y="2145"/>
                  </a:lnTo>
                  <a:lnTo>
                    <a:pt x="4912" y="2147"/>
                  </a:lnTo>
                  <a:lnTo>
                    <a:pt x="4936" y="2149"/>
                  </a:lnTo>
                  <a:lnTo>
                    <a:pt x="4961" y="2154"/>
                  </a:lnTo>
                  <a:lnTo>
                    <a:pt x="4985" y="2162"/>
                  </a:lnTo>
                  <a:lnTo>
                    <a:pt x="5010" y="2169"/>
                  </a:lnTo>
                  <a:lnTo>
                    <a:pt x="5032" y="2181"/>
                  </a:lnTo>
                  <a:lnTo>
                    <a:pt x="5055" y="2192"/>
                  </a:lnTo>
                  <a:lnTo>
                    <a:pt x="5075" y="2205"/>
                  </a:lnTo>
                  <a:lnTo>
                    <a:pt x="5096" y="2220"/>
                  </a:lnTo>
                  <a:lnTo>
                    <a:pt x="5113" y="2235"/>
                  </a:lnTo>
                  <a:lnTo>
                    <a:pt x="5113" y="2235"/>
                  </a:lnTo>
                  <a:lnTo>
                    <a:pt x="5130" y="2254"/>
                  </a:lnTo>
                  <a:lnTo>
                    <a:pt x="5145" y="2271"/>
                  </a:lnTo>
                  <a:lnTo>
                    <a:pt x="5158" y="2290"/>
                  </a:lnTo>
                  <a:lnTo>
                    <a:pt x="5169" y="2310"/>
                  </a:lnTo>
                  <a:lnTo>
                    <a:pt x="5177" y="2329"/>
                  </a:lnTo>
                  <a:lnTo>
                    <a:pt x="5184" y="2350"/>
                  </a:lnTo>
                  <a:lnTo>
                    <a:pt x="5188" y="2370"/>
                  </a:lnTo>
                  <a:lnTo>
                    <a:pt x="5190" y="2393"/>
                  </a:lnTo>
                  <a:lnTo>
                    <a:pt x="5190" y="2393"/>
                  </a:lnTo>
                  <a:lnTo>
                    <a:pt x="5190" y="2414"/>
                  </a:lnTo>
                  <a:lnTo>
                    <a:pt x="5186" y="2434"/>
                  </a:lnTo>
                  <a:lnTo>
                    <a:pt x="5180" y="2455"/>
                  </a:lnTo>
                  <a:lnTo>
                    <a:pt x="5173" y="2476"/>
                  </a:lnTo>
                  <a:lnTo>
                    <a:pt x="5164" y="2496"/>
                  </a:lnTo>
                  <a:lnTo>
                    <a:pt x="5152" y="2515"/>
                  </a:lnTo>
                  <a:lnTo>
                    <a:pt x="5139" y="2534"/>
                  </a:lnTo>
                  <a:lnTo>
                    <a:pt x="5122" y="2553"/>
                  </a:lnTo>
                  <a:lnTo>
                    <a:pt x="5122" y="2553"/>
                  </a:lnTo>
                  <a:lnTo>
                    <a:pt x="5092" y="2581"/>
                  </a:lnTo>
                  <a:lnTo>
                    <a:pt x="5060" y="2607"/>
                  </a:lnTo>
                  <a:lnTo>
                    <a:pt x="5026" y="2630"/>
                  </a:lnTo>
                  <a:lnTo>
                    <a:pt x="4993" y="2648"/>
                  </a:lnTo>
                  <a:lnTo>
                    <a:pt x="4957" y="2667"/>
                  </a:lnTo>
                  <a:lnTo>
                    <a:pt x="4921" y="2682"/>
                  </a:lnTo>
                  <a:lnTo>
                    <a:pt x="4854" y="2710"/>
                  </a:lnTo>
                  <a:lnTo>
                    <a:pt x="4854" y="2710"/>
                  </a:lnTo>
                  <a:lnTo>
                    <a:pt x="4730" y="2756"/>
                  </a:lnTo>
                  <a:lnTo>
                    <a:pt x="4730" y="2756"/>
                  </a:lnTo>
                  <a:lnTo>
                    <a:pt x="4628" y="2791"/>
                  </a:lnTo>
                  <a:lnTo>
                    <a:pt x="4628" y="2791"/>
                  </a:lnTo>
                  <a:lnTo>
                    <a:pt x="4617" y="2797"/>
                  </a:lnTo>
                  <a:lnTo>
                    <a:pt x="4604" y="2804"/>
                  </a:lnTo>
                  <a:lnTo>
                    <a:pt x="4602" y="2804"/>
                  </a:lnTo>
                  <a:lnTo>
                    <a:pt x="4602" y="2804"/>
                  </a:lnTo>
                  <a:lnTo>
                    <a:pt x="4581" y="2817"/>
                  </a:lnTo>
                  <a:lnTo>
                    <a:pt x="4563" y="2829"/>
                  </a:lnTo>
                  <a:lnTo>
                    <a:pt x="4546" y="2842"/>
                  </a:lnTo>
                  <a:lnTo>
                    <a:pt x="4531" y="2855"/>
                  </a:lnTo>
                  <a:lnTo>
                    <a:pt x="4519" y="2868"/>
                  </a:lnTo>
                  <a:lnTo>
                    <a:pt x="4508" y="2883"/>
                  </a:lnTo>
                  <a:lnTo>
                    <a:pt x="4499" y="2896"/>
                  </a:lnTo>
                  <a:lnTo>
                    <a:pt x="4493" y="2911"/>
                  </a:lnTo>
                  <a:lnTo>
                    <a:pt x="4488" y="2928"/>
                  </a:lnTo>
                  <a:lnTo>
                    <a:pt x="4486" y="2943"/>
                  </a:lnTo>
                  <a:lnTo>
                    <a:pt x="4486" y="2960"/>
                  </a:lnTo>
                  <a:lnTo>
                    <a:pt x="4486" y="2979"/>
                  </a:lnTo>
                  <a:lnTo>
                    <a:pt x="4489" y="2998"/>
                  </a:lnTo>
                  <a:lnTo>
                    <a:pt x="4495" y="3017"/>
                  </a:lnTo>
                  <a:lnTo>
                    <a:pt x="4501" y="3037"/>
                  </a:lnTo>
                  <a:lnTo>
                    <a:pt x="4510" y="3058"/>
                  </a:lnTo>
                  <a:lnTo>
                    <a:pt x="4510" y="3058"/>
                  </a:lnTo>
                  <a:lnTo>
                    <a:pt x="4531" y="3105"/>
                  </a:lnTo>
                  <a:lnTo>
                    <a:pt x="4553" y="3152"/>
                  </a:lnTo>
                  <a:lnTo>
                    <a:pt x="4576" y="3197"/>
                  </a:lnTo>
                  <a:lnTo>
                    <a:pt x="4600" y="3240"/>
                  </a:lnTo>
                  <a:lnTo>
                    <a:pt x="4625" y="3283"/>
                  </a:lnTo>
                  <a:lnTo>
                    <a:pt x="4653" y="3327"/>
                  </a:lnTo>
                  <a:lnTo>
                    <a:pt x="4679" y="3368"/>
                  </a:lnTo>
                  <a:lnTo>
                    <a:pt x="4707" y="3409"/>
                  </a:lnTo>
                  <a:lnTo>
                    <a:pt x="4737" y="3449"/>
                  </a:lnTo>
                  <a:lnTo>
                    <a:pt x="4767" y="3488"/>
                  </a:lnTo>
                  <a:lnTo>
                    <a:pt x="4799" y="3527"/>
                  </a:lnTo>
                  <a:lnTo>
                    <a:pt x="4833" y="3565"/>
                  </a:lnTo>
                  <a:lnTo>
                    <a:pt x="4867" y="3601"/>
                  </a:lnTo>
                  <a:lnTo>
                    <a:pt x="4901" y="3636"/>
                  </a:lnTo>
                  <a:lnTo>
                    <a:pt x="4936" y="3672"/>
                  </a:lnTo>
                  <a:lnTo>
                    <a:pt x="4974" y="3706"/>
                  </a:lnTo>
                  <a:lnTo>
                    <a:pt x="4974" y="3706"/>
                  </a:lnTo>
                  <a:lnTo>
                    <a:pt x="5008" y="3736"/>
                  </a:lnTo>
                  <a:lnTo>
                    <a:pt x="5043" y="3766"/>
                  </a:lnTo>
                  <a:lnTo>
                    <a:pt x="5079" y="3794"/>
                  </a:lnTo>
                  <a:lnTo>
                    <a:pt x="5115" y="3821"/>
                  </a:lnTo>
                  <a:lnTo>
                    <a:pt x="5152" y="3845"/>
                  </a:lnTo>
                  <a:lnTo>
                    <a:pt x="5188" y="3867"/>
                  </a:lnTo>
                  <a:lnTo>
                    <a:pt x="5225" y="3890"/>
                  </a:lnTo>
                  <a:lnTo>
                    <a:pt x="5263" y="3911"/>
                  </a:lnTo>
                  <a:lnTo>
                    <a:pt x="5301" y="3929"/>
                  </a:lnTo>
                  <a:lnTo>
                    <a:pt x="5340" y="3948"/>
                  </a:lnTo>
                  <a:lnTo>
                    <a:pt x="5378" y="3965"/>
                  </a:lnTo>
                  <a:lnTo>
                    <a:pt x="5417" y="3980"/>
                  </a:lnTo>
                  <a:lnTo>
                    <a:pt x="5458" y="3993"/>
                  </a:lnTo>
                  <a:lnTo>
                    <a:pt x="5498" y="4006"/>
                  </a:lnTo>
                  <a:lnTo>
                    <a:pt x="5539" y="4018"/>
                  </a:lnTo>
                  <a:lnTo>
                    <a:pt x="5580" y="4027"/>
                  </a:lnTo>
                  <a:lnTo>
                    <a:pt x="5580" y="4027"/>
                  </a:lnTo>
                  <a:lnTo>
                    <a:pt x="5614" y="4033"/>
                  </a:lnTo>
                  <a:lnTo>
                    <a:pt x="5614" y="4033"/>
                  </a:lnTo>
                  <a:lnTo>
                    <a:pt x="5642" y="4040"/>
                  </a:lnTo>
                  <a:lnTo>
                    <a:pt x="5642" y="4040"/>
                  </a:lnTo>
                  <a:lnTo>
                    <a:pt x="5661" y="4044"/>
                  </a:lnTo>
                  <a:lnTo>
                    <a:pt x="5680" y="4052"/>
                  </a:lnTo>
                  <a:lnTo>
                    <a:pt x="5695" y="4059"/>
                  </a:lnTo>
                  <a:lnTo>
                    <a:pt x="5710" y="4068"/>
                  </a:lnTo>
                  <a:lnTo>
                    <a:pt x="5723" y="4080"/>
                  </a:lnTo>
                  <a:lnTo>
                    <a:pt x="5736" y="4093"/>
                  </a:lnTo>
                  <a:lnTo>
                    <a:pt x="5746" y="4106"/>
                  </a:lnTo>
                  <a:lnTo>
                    <a:pt x="5755" y="4121"/>
                  </a:lnTo>
                  <a:lnTo>
                    <a:pt x="5755" y="4121"/>
                  </a:lnTo>
                  <a:lnTo>
                    <a:pt x="5761" y="4138"/>
                  </a:lnTo>
                  <a:lnTo>
                    <a:pt x="5766" y="4155"/>
                  </a:lnTo>
                  <a:lnTo>
                    <a:pt x="5768" y="4172"/>
                  </a:lnTo>
                  <a:lnTo>
                    <a:pt x="5770" y="4189"/>
                  </a:lnTo>
                  <a:lnTo>
                    <a:pt x="5768" y="4206"/>
                  </a:lnTo>
                  <a:lnTo>
                    <a:pt x="5764" y="4224"/>
                  </a:lnTo>
                  <a:lnTo>
                    <a:pt x="5759" y="4243"/>
                  </a:lnTo>
                  <a:lnTo>
                    <a:pt x="5751" y="4260"/>
                  </a:lnTo>
                  <a:lnTo>
                    <a:pt x="5751" y="4260"/>
                  </a:lnTo>
                  <a:lnTo>
                    <a:pt x="5738" y="4284"/>
                  </a:lnTo>
                  <a:lnTo>
                    <a:pt x="5723" y="4307"/>
                  </a:lnTo>
                  <a:lnTo>
                    <a:pt x="5706" y="4328"/>
                  </a:lnTo>
                  <a:lnTo>
                    <a:pt x="5687" y="4345"/>
                  </a:lnTo>
                  <a:lnTo>
                    <a:pt x="5669" y="4361"/>
                  </a:lnTo>
                  <a:lnTo>
                    <a:pt x="5650" y="4375"/>
                  </a:lnTo>
                  <a:lnTo>
                    <a:pt x="5612" y="4399"/>
                  </a:lnTo>
                  <a:lnTo>
                    <a:pt x="5612" y="4399"/>
                  </a:lnTo>
                  <a:lnTo>
                    <a:pt x="5569" y="4422"/>
                  </a:lnTo>
                  <a:lnTo>
                    <a:pt x="5526" y="4442"/>
                  </a:lnTo>
                  <a:lnTo>
                    <a:pt x="5483" y="4459"/>
                  </a:lnTo>
                  <a:lnTo>
                    <a:pt x="5441" y="4474"/>
                  </a:lnTo>
                  <a:lnTo>
                    <a:pt x="5398" y="4489"/>
                  </a:lnTo>
                  <a:lnTo>
                    <a:pt x="5355" y="4500"/>
                  </a:lnTo>
                  <a:lnTo>
                    <a:pt x="5274" y="4521"/>
                  </a:lnTo>
                  <a:lnTo>
                    <a:pt x="5274" y="4521"/>
                  </a:lnTo>
                  <a:lnTo>
                    <a:pt x="5203" y="4536"/>
                  </a:lnTo>
                  <a:lnTo>
                    <a:pt x="5133" y="4551"/>
                  </a:lnTo>
                  <a:lnTo>
                    <a:pt x="5010" y="4574"/>
                  </a:lnTo>
                  <a:lnTo>
                    <a:pt x="5010" y="4574"/>
                  </a:lnTo>
                  <a:lnTo>
                    <a:pt x="5000" y="4576"/>
                  </a:lnTo>
                  <a:lnTo>
                    <a:pt x="4995" y="4579"/>
                  </a:lnTo>
                  <a:lnTo>
                    <a:pt x="4991" y="4583"/>
                  </a:lnTo>
                  <a:lnTo>
                    <a:pt x="4989" y="4589"/>
                  </a:lnTo>
                  <a:lnTo>
                    <a:pt x="4989" y="4589"/>
                  </a:lnTo>
                  <a:lnTo>
                    <a:pt x="4970" y="4666"/>
                  </a:lnTo>
                  <a:lnTo>
                    <a:pt x="4970" y="4666"/>
                  </a:lnTo>
                  <a:lnTo>
                    <a:pt x="4942" y="4784"/>
                  </a:lnTo>
                  <a:lnTo>
                    <a:pt x="4942" y="4784"/>
                  </a:lnTo>
                  <a:lnTo>
                    <a:pt x="4934" y="4814"/>
                  </a:lnTo>
                  <a:lnTo>
                    <a:pt x="4925" y="4839"/>
                  </a:lnTo>
                  <a:lnTo>
                    <a:pt x="4916" y="4861"/>
                  </a:lnTo>
                  <a:lnTo>
                    <a:pt x="4904" y="4880"/>
                  </a:lnTo>
                  <a:lnTo>
                    <a:pt x="4891" y="4897"/>
                  </a:lnTo>
                  <a:lnTo>
                    <a:pt x="4878" y="4910"/>
                  </a:lnTo>
                  <a:lnTo>
                    <a:pt x="4863" y="4919"/>
                  </a:lnTo>
                  <a:lnTo>
                    <a:pt x="4848" y="4929"/>
                  </a:lnTo>
                  <a:lnTo>
                    <a:pt x="4833" y="4934"/>
                  </a:lnTo>
                  <a:lnTo>
                    <a:pt x="4816" y="4940"/>
                  </a:lnTo>
                  <a:lnTo>
                    <a:pt x="4797" y="4942"/>
                  </a:lnTo>
                  <a:lnTo>
                    <a:pt x="4780" y="4944"/>
                  </a:lnTo>
                  <a:lnTo>
                    <a:pt x="4741" y="4944"/>
                  </a:lnTo>
                  <a:lnTo>
                    <a:pt x="4702" y="4940"/>
                  </a:lnTo>
                  <a:lnTo>
                    <a:pt x="4702" y="4940"/>
                  </a:lnTo>
                  <a:lnTo>
                    <a:pt x="4640" y="4932"/>
                  </a:lnTo>
                  <a:lnTo>
                    <a:pt x="4580" y="4923"/>
                  </a:lnTo>
                  <a:lnTo>
                    <a:pt x="4580" y="4923"/>
                  </a:lnTo>
                  <a:lnTo>
                    <a:pt x="4516" y="4912"/>
                  </a:lnTo>
                  <a:lnTo>
                    <a:pt x="4450" y="4904"/>
                  </a:lnTo>
                  <a:lnTo>
                    <a:pt x="4450" y="4904"/>
                  </a:lnTo>
                  <a:lnTo>
                    <a:pt x="4401" y="4899"/>
                  </a:lnTo>
                  <a:lnTo>
                    <a:pt x="4354" y="4897"/>
                  </a:lnTo>
                  <a:lnTo>
                    <a:pt x="4309" y="4897"/>
                  </a:lnTo>
                  <a:lnTo>
                    <a:pt x="4264" y="4897"/>
                  </a:lnTo>
                  <a:lnTo>
                    <a:pt x="4221" y="4901"/>
                  </a:lnTo>
                  <a:lnTo>
                    <a:pt x="4180" y="4906"/>
                  </a:lnTo>
                  <a:lnTo>
                    <a:pt x="4138" y="4912"/>
                  </a:lnTo>
                  <a:lnTo>
                    <a:pt x="4099" y="4919"/>
                  </a:lnTo>
                  <a:lnTo>
                    <a:pt x="4061" y="4931"/>
                  </a:lnTo>
                  <a:lnTo>
                    <a:pt x="4024" y="4942"/>
                  </a:lnTo>
                  <a:lnTo>
                    <a:pt x="3986" y="4955"/>
                  </a:lnTo>
                  <a:lnTo>
                    <a:pt x="3951" y="4972"/>
                  </a:lnTo>
                  <a:lnTo>
                    <a:pt x="3917" y="4989"/>
                  </a:lnTo>
                  <a:lnTo>
                    <a:pt x="3883" y="5008"/>
                  </a:lnTo>
                  <a:lnTo>
                    <a:pt x="3849" y="5030"/>
                  </a:lnTo>
                  <a:lnTo>
                    <a:pt x="3817" y="5053"/>
                  </a:lnTo>
                  <a:lnTo>
                    <a:pt x="3817" y="5053"/>
                  </a:lnTo>
                  <a:lnTo>
                    <a:pt x="3746" y="5103"/>
                  </a:lnTo>
                  <a:lnTo>
                    <a:pt x="3675" y="5152"/>
                  </a:lnTo>
                  <a:lnTo>
                    <a:pt x="3675" y="5152"/>
                  </a:lnTo>
                  <a:lnTo>
                    <a:pt x="3598" y="5205"/>
                  </a:lnTo>
                  <a:lnTo>
                    <a:pt x="3598" y="5205"/>
                  </a:lnTo>
                  <a:lnTo>
                    <a:pt x="3556" y="5233"/>
                  </a:lnTo>
                  <a:lnTo>
                    <a:pt x="3515" y="5259"/>
                  </a:lnTo>
                  <a:lnTo>
                    <a:pt x="3472" y="5284"/>
                  </a:lnTo>
                  <a:lnTo>
                    <a:pt x="3429" y="5306"/>
                  </a:lnTo>
                  <a:lnTo>
                    <a:pt x="3385" y="5327"/>
                  </a:lnTo>
                  <a:lnTo>
                    <a:pt x="3342" y="5346"/>
                  </a:lnTo>
                  <a:lnTo>
                    <a:pt x="3299" y="5363"/>
                  </a:lnTo>
                  <a:lnTo>
                    <a:pt x="3254" y="5378"/>
                  </a:lnTo>
                  <a:lnTo>
                    <a:pt x="3209" y="5391"/>
                  </a:lnTo>
                  <a:lnTo>
                    <a:pt x="3164" y="5402"/>
                  </a:lnTo>
                  <a:lnTo>
                    <a:pt x="3119" y="5413"/>
                  </a:lnTo>
                  <a:lnTo>
                    <a:pt x="3072" y="5421"/>
                  </a:lnTo>
                  <a:lnTo>
                    <a:pt x="3025" y="5426"/>
                  </a:lnTo>
                  <a:lnTo>
                    <a:pt x="2978" y="5432"/>
                  </a:lnTo>
                  <a:lnTo>
                    <a:pt x="2931" y="5434"/>
                  </a:lnTo>
                  <a:lnTo>
                    <a:pt x="2882" y="5434"/>
                  </a:lnTo>
                  <a:lnTo>
                    <a:pt x="2882" y="5434"/>
                  </a:lnTo>
                  <a:close/>
                  <a:moveTo>
                    <a:pt x="1322" y="2222"/>
                  </a:moveTo>
                  <a:lnTo>
                    <a:pt x="1322" y="2222"/>
                  </a:lnTo>
                  <a:lnTo>
                    <a:pt x="1322" y="22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5271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1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GB" dirty="0" smtClean="0"/>
              <a:t>THE ADS AND TRAILERS ARE PART OF THE EXPERIENCE</a:t>
            </a:r>
            <a:endParaRPr lang="en-GB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3028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 smtClean="0">
                <a:solidFill>
                  <a:schemeClr val="bg1"/>
                </a:solidFill>
              </a:rPr>
              <a:t>FAME 2016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7" name="Text Placeholder 15"/>
          <p:cNvSpPr>
            <a:spLocks noGrp="1"/>
          </p:cNvSpPr>
          <p:nvPr>
            <p:ph type="body" idx="4294967295"/>
          </p:nvPr>
        </p:nvSpPr>
        <p:spPr>
          <a:xfrm>
            <a:off x="3316285" y="5440097"/>
            <a:ext cx="3400530" cy="605294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Make sure they’re seated before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ything is on screen (ever)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8" name="Text Placeholder 13"/>
          <p:cNvSpPr>
            <a:spLocks noGrp="1"/>
          </p:cNvSpPr>
          <p:nvPr>
            <p:ph type="body" idx="4294967295"/>
          </p:nvPr>
        </p:nvSpPr>
        <p:spPr>
          <a:xfrm>
            <a:off x="4003725" y="4461719"/>
            <a:ext cx="2025650" cy="104644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6200" dirty="0" smtClean="0">
                <a:latin typeface="Impact" charset="0"/>
                <a:ea typeface="Impact" charset="0"/>
                <a:cs typeface="Impact" charset="0"/>
              </a:rPr>
              <a:t>94%</a:t>
            </a:r>
            <a:endParaRPr lang="en-US" sz="6200" dirty="0"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9" name="Freeform 419"/>
          <p:cNvSpPr>
            <a:spLocks noEditPoints="1"/>
          </p:cNvSpPr>
          <p:nvPr/>
        </p:nvSpPr>
        <p:spPr bwMode="auto">
          <a:xfrm>
            <a:off x="1437077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419"/>
          <p:cNvSpPr>
            <a:spLocks noEditPoints="1"/>
          </p:cNvSpPr>
          <p:nvPr/>
        </p:nvSpPr>
        <p:spPr bwMode="auto">
          <a:xfrm>
            <a:off x="2881260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419"/>
          <p:cNvSpPr>
            <a:spLocks noEditPoints="1"/>
          </p:cNvSpPr>
          <p:nvPr/>
        </p:nvSpPr>
        <p:spPr bwMode="auto">
          <a:xfrm>
            <a:off x="4325443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19"/>
          <p:cNvSpPr>
            <a:spLocks noEditPoints="1"/>
          </p:cNvSpPr>
          <p:nvPr/>
        </p:nvSpPr>
        <p:spPr bwMode="auto">
          <a:xfrm>
            <a:off x="5769626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419"/>
          <p:cNvSpPr>
            <a:spLocks noEditPoints="1"/>
          </p:cNvSpPr>
          <p:nvPr/>
        </p:nvSpPr>
        <p:spPr bwMode="auto">
          <a:xfrm>
            <a:off x="7213809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419"/>
          <p:cNvSpPr>
            <a:spLocks noEditPoints="1"/>
          </p:cNvSpPr>
          <p:nvPr/>
        </p:nvSpPr>
        <p:spPr bwMode="auto">
          <a:xfrm>
            <a:off x="1437077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419"/>
          <p:cNvSpPr>
            <a:spLocks noEditPoints="1"/>
          </p:cNvSpPr>
          <p:nvPr/>
        </p:nvSpPr>
        <p:spPr bwMode="auto">
          <a:xfrm>
            <a:off x="2862584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419"/>
          <p:cNvSpPr>
            <a:spLocks noEditPoints="1"/>
          </p:cNvSpPr>
          <p:nvPr/>
        </p:nvSpPr>
        <p:spPr bwMode="auto">
          <a:xfrm>
            <a:off x="4328910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419"/>
          <p:cNvSpPr>
            <a:spLocks noEditPoints="1"/>
          </p:cNvSpPr>
          <p:nvPr/>
        </p:nvSpPr>
        <p:spPr bwMode="auto">
          <a:xfrm>
            <a:off x="5764864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0218" y="2916067"/>
            <a:ext cx="1312270" cy="131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62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1" r="6685" b="7270"/>
          <a:stretch/>
        </p:blipFill>
        <p:spPr>
          <a:xfrm>
            <a:off x="-1" y="0"/>
            <a:ext cx="10068449" cy="6792686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4343399" y="3893471"/>
            <a:ext cx="4328709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ig screen creates big emotions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888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 smtClean="0"/>
              <a:t>Cinema creates positive emotions</a:t>
            </a:r>
            <a:endParaRPr lang="en-US" spc="-5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70000" y="692201"/>
            <a:ext cx="9316338" cy="436608"/>
          </a:xfrm>
        </p:spPr>
        <p:txBody>
          <a:bodyPr lIns="0" rIns="0"/>
          <a:lstStyle/>
          <a:p>
            <a:r>
              <a:rPr lang="en-GB" dirty="0" smtClean="0"/>
              <a:t>More than any other AV channel 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>
          <a:xfrm>
            <a:off x="2101500" y="6192736"/>
            <a:ext cx="5877623" cy="33855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Positive emotions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3938104" y="5586981"/>
            <a:ext cx="1040992" cy="523220"/>
          </a:xfrm>
        </p:spPr>
        <p:txBody>
          <a:bodyPr/>
          <a:lstStyle/>
          <a:p>
            <a:r>
              <a:rPr lang="en-US" b="0" dirty="0" smtClean="0"/>
              <a:t>56%</a:t>
            </a:r>
            <a:endParaRPr lang="en-US" b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2760658" y="5586981"/>
            <a:ext cx="1040992" cy="523220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87%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5115550" y="5586981"/>
            <a:ext cx="1040992" cy="523220"/>
          </a:xfrm>
        </p:spPr>
        <p:txBody>
          <a:bodyPr/>
          <a:lstStyle/>
          <a:p>
            <a:r>
              <a:rPr lang="en-US" b="0" dirty="0" smtClean="0"/>
              <a:t>61%</a:t>
            </a:r>
            <a:endParaRPr lang="en-US" b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 rot="16200000">
            <a:off x="2081254" y="3301239"/>
            <a:ext cx="2386208" cy="430887"/>
          </a:xfrm>
        </p:spPr>
        <p:txBody>
          <a:bodyPr/>
          <a:lstStyle/>
          <a:p>
            <a:r>
              <a:rPr lang="en-US" b="0" dirty="0" smtClean="0"/>
              <a:t>cinema</a:t>
            </a:r>
            <a:endParaRPr lang="en-US" b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6292996" y="5583121"/>
            <a:ext cx="1040992" cy="523220"/>
          </a:xfrm>
        </p:spPr>
        <p:txBody>
          <a:bodyPr/>
          <a:lstStyle/>
          <a:p>
            <a:r>
              <a:rPr lang="en-US" b="0" dirty="0" smtClean="0"/>
              <a:t>55%</a:t>
            </a:r>
            <a:endParaRPr lang="en-US" b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>
          <a:xfrm rot="16200000">
            <a:off x="3233647" y="3276186"/>
            <a:ext cx="2436314" cy="430887"/>
          </a:xfrm>
        </p:spPr>
        <p:txBody>
          <a:bodyPr/>
          <a:lstStyle/>
          <a:p>
            <a:r>
              <a:rPr lang="en-US" b="0" dirty="0" smtClean="0"/>
              <a:t>Live </a:t>
            </a:r>
            <a:r>
              <a:rPr lang="en-US" b="0" dirty="0" err="1" smtClean="0"/>
              <a:t>tv</a:t>
            </a:r>
            <a:endParaRPr lang="en-US" b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6"/>
          </p:nvPr>
        </p:nvSpPr>
        <p:spPr>
          <a:xfrm rot="16200000">
            <a:off x="4411093" y="3276186"/>
            <a:ext cx="2436313" cy="430887"/>
          </a:xfrm>
        </p:spPr>
        <p:txBody>
          <a:bodyPr/>
          <a:lstStyle/>
          <a:p>
            <a:r>
              <a:rPr lang="en-US" b="0" dirty="0" smtClean="0"/>
              <a:t>Longform </a:t>
            </a:r>
            <a:r>
              <a:rPr lang="en-US" b="0" dirty="0" err="1" smtClean="0"/>
              <a:t>vod</a:t>
            </a:r>
            <a:endParaRPr lang="en-US" b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27"/>
          </p:nvPr>
        </p:nvSpPr>
        <p:spPr>
          <a:xfrm rot="16200000">
            <a:off x="5588541" y="3276187"/>
            <a:ext cx="2436312" cy="430887"/>
          </a:xfrm>
        </p:spPr>
        <p:txBody>
          <a:bodyPr/>
          <a:lstStyle/>
          <a:p>
            <a:r>
              <a:rPr lang="en-US" b="0" dirty="0" smtClean="0"/>
              <a:t>Short online video</a:t>
            </a:r>
            <a:endParaRPr lang="en-US" b="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2861" y="1391993"/>
            <a:ext cx="612653" cy="61265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969302" y="1390310"/>
            <a:ext cx="627176" cy="627176"/>
            <a:chOff x="2969302" y="1390310"/>
            <a:chExt cx="627176" cy="62717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9302" y="1390310"/>
              <a:ext cx="627176" cy="62717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3062790" y="1492669"/>
              <a:ext cx="436728" cy="4367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reeform 16"/>
          <p:cNvSpPr>
            <a:spLocks noEditPoints="1"/>
          </p:cNvSpPr>
          <p:nvPr/>
        </p:nvSpPr>
        <p:spPr bwMode="auto">
          <a:xfrm>
            <a:off x="3096147" y="1520731"/>
            <a:ext cx="368414" cy="368991"/>
          </a:xfrm>
          <a:custGeom>
            <a:avLst/>
            <a:gdLst>
              <a:gd name="T0" fmla="*/ 541 w 1276"/>
              <a:gd name="T1" fmla="*/ 8 h 1278"/>
              <a:gd name="T2" fmla="*/ 389 w 1276"/>
              <a:gd name="T3" fmla="*/ 51 h 1278"/>
              <a:gd name="T4" fmla="*/ 255 w 1276"/>
              <a:gd name="T5" fmla="*/ 126 h 1278"/>
              <a:gd name="T6" fmla="*/ 146 w 1276"/>
              <a:gd name="T7" fmla="*/ 233 h 1278"/>
              <a:gd name="T8" fmla="*/ 62 w 1276"/>
              <a:gd name="T9" fmla="*/ 361 h 1278"/>
              <a:gd name="T10" fmla="*/ 12 w 1276"/>
              <a:gd name="T11" fmla="*/ 510 h 1278"/>
              <a:gd name="T12" fmla="*/ 0 w 1276"/>
              <a:gd name="T13" fmla="*/ 639 h 1278"/>
              <a:gd name="T14" fmla="*/ 19 w 1276"/>
              <a:gd name="T15" fmla="*/ 798 h 1278"/>
              <a:gd name="T16" fmla="*/ 77 w 1276"/>
              <a:gd name="T17" fmla="*/ 944 h 1278"/>
              <a:gd name="T18" fmla="*/ 165 w 1276"/>
              <a:gd name="T19" fmla="*/ 1069 h 1278"/>
              <a:gd name="T20" fmla="*/ 281 w 1276"/>
              <a:gd name="T21" fmla="*/ 1169 h 1278"/>
              <a:gd name="T22" fmla="*/ 418 w 1276"/>
              <a:gd name="T23" fmla="*/ 1239 h 1278"/>
              <a:gd name="T24" fmla="*/ 572 w 1276"/>
              <a:gd name="T25" fmla="*/ 1275 h 1278"/>
              <a:gd name="T26" fmla="*/ 704 w 1276"/>
              <a:gd name="T27" fmla="*/ 1275 h 1278"/>
              <a:gd name="T28" fmla="*/ 858 w 1276"/>
              <a:gd name="T29" fmla="*/ 1239 h 1278"/>
              <a:gd name="T30" fmla="*/ 995 w 1276"/>
              <a:gd name="T31" fmla="*/ 1169 h 1278"/>
              <a:gd name="T32" fmla="*/ 1112 w 1276"/>
              <a:gd name="T33" fmla="*/ 1069 h 1278"/>
              <a:gd name="T34" fmla="*/ 1199 w 1276"/>
              <a:gd name="T35" fmla="*/ 944 h 1278"/>
              <a:gd name="T36" fmla="*/ 1257 w 1276"/>
              <a:gd name="T37" fmla="*/ 798 h 1278"/>
              <a:gd name="T38" fmla="*/ 1276 w 1276"/>
              <a:gd name="T39" fmla="*/ 639 h 1278"/>
              <a:gd name="T40" fmla="*/ 1264 w 1276"/>
              <a:gd name="T41" fmla="*/ 510 h 1278"/>
              <a:gd name="T42" fmla="*/ 1215 w 1276"/>
              <a:gd name="T43" fmla="*/ 361 h 1278"/>
              <a:gd name="T44" fmla="*/ 1131 w 1276"/>
              <a:gd name="T45" fmla="*/ 233 h 1278"/>
              <a:gd name="T46" fmla="*/ 1021 w 1276"/>
              <a:gd name="T47" fmla="*/ 126 h 1278"/>
              <a:gd name="T48" fmla="*/ 887 w 1276"/>
              <a:gd name="T49" fmla="*/ 51 h 1278"/>
              <a:gd name="T50" fmla="*/ 735 w 1276"/>
              <a:gd name="T51" fmla="*/ 8 h 1278"/>
              <a:gd name="T52" fmla="*/ 869 w 1276"/>
              <a:gd name="T53" fmla="*/ 274 h 1278"/>
              <a:gd name="T54" fmla="*/ 917 w 1276"/>
              <a:gd name="T55" fmla="*/ 282 h 1278"/>
              <a:gd name="T56" fmla="*/ 961 w 1276"/>
              <a:gd name="T57" fmla="*/ 317 h 1278"/>
              <a:gd name="T58" fmla="*/ 987 w 1276"/>
              <a:gd name="T59" fmla="*/ 368 h 1278"/>
              <a:gd name="T60" fmla="*/ 750 w 1276"/>
              <a:gd name="T61" fmla="*/ 380 h 1278"/>
              <a:gd name="T62" fmla="*/ 771 w 1276"/>
              <a:gd name="T63" fmla="*/ 325 h 1278"/>
              <a:gd name="T64" fmla="*/ 812 w 1276"/>
              <a:gd name="T65" fmla="*/ 288 h 1278"/>
              <a:gd name="T66" fmla="*/ 869 w 1276"/>
              <a:gd name="T67" fmla="*/ 274 h 1278"/>
              <a:gd name="T68" fmla="*/ 432 w 1276"/>
              <a:gd name="T69" fmla="*/ 276 h 1278"/>
              <a:gd name="T70" fmla="*/ 483 w 1276"/>
              <a:gd name="T71" fmla="*/ 301 h 1278"/>
              <a:gd name="T72" fmla="*/ 517 w 1276"/>
              <a:gd name="T73" fmla="*/ 346 h 1278"/>
              <a:gd name="T74" fmla="*/ 288 w 1276"/>
              <a:gd name="T75" fmla="*/ 392 h 1278"/>
              <a:gd name="T76" fmla="*/ 296 w 1276"/>
              <a:gd name="T77" fmla="*/ 346 h 1278"/>
              <a:gd name="T78" fmla="*/ 331 w 1276"/>
              <a:gd name="T79" fmla="*/ 301 h 1278"/>
              <a:gd name="T80" fmla="*/ 384 w 1276"/>
              <a:gd name="T81" fmla="*/ 276 h 1278"/>
              <a:gd name="T82" fmla="*/ 639 w 1276"/>
              <a:gd name="T83" fmla="*/ 1136 h 1278"/>
              <a:gd name="T84" fmla="*/ 514 w 1276"/>
              <a:gd name="T85" fmla="*/ 1121 h 1278"/>
              <a:gd name="T86" fmla="*/ 401 w 1276"/>
              <a:gd name="T87" fmla="*/ 1076 h 1278"/>
              <a:gd name="T88" fmla="*/ 305 w 1276"/>
              <a:gd name="T89" fmla="*/ 1007 h 1278"/>
              <a:gd name="T90" fmla="*/ 226 w 1276"/>
              <a:gd name="T91" fmla="*/ 917 h 1278"/>
              <a:gd name="T92" fmla="*/ 173 w 1276"/>
              <a:gd name="T93" fmla="*/ 810 h 1278"/>
              <a:gd name="T94" fmla="*/ 144 w 1276"/>
              <a:gd name="T95" fmla="*/ 690 h 1278"/>
              <a:gd name="T96" fmla="*/ 146 w 1276"/>
              <a:gd name="T97" fmla="*/ 625 h 1278"/>
              <a:gd name="T98" fmla="*/ 165 w 1276"/>
              <a:gd name="T99" fmla="*/ 605 h 1278"/>
              <a:gd name="T100" fmla="*/ 1105 w 1276"/>
              <a:gd name="T101" fmla="*/ 603 h 1278"/>
              <a:gd name="T102" fmla="*/ 1127 w 1276"/>
              <a:gd name="T103" fmla="*/ 618 h 1278"/>
              <a:gd name="T104" fmla="*/ 1134 w 1276"/>
              <a:gd name="T105" fmla="*/ 665 h 1278"/>
              <a:gd name="T106" fmla="*/ 1112 w 1276"/>
              <a:gd name="T107" fmla="*/ 786 h 1278"/>
              <a:gd name="T108" fmla="*/ 1062 w 1276"/>
              <a:gd name="T109" fmla="*/ 896 h 1278"/>
              <a:gd name="T110" fmla="*/ 989 w 1276"/>
              <a:gd name="T111" fmla="*/ 990 h 1278"/>
              <a:gd name="T112" fmla="*/ 896 w 1276"/>
              <a:gd name="T113" fmla="*/ 1064 h 1278"/>
              <a:gd name="T114" fmla="*/ 786 w 1276"/>
              <a:gd name="T115" fmla="*/ 1114 h 1278"/>
              <a:gd name="T116" fmla="*/ 663 w 1276"/>
              <a:gd name="T117" fmla="*/ 1134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1278">
                <a:moveTo>
                  <a:pt x="639" y="0"/>
                </a:moveTo>
                <a:lnTo>
                  <a:pt x="639" y="0"/>
                </a:lnTo>
                <a:lnTo>
                  <a:pt x="605" y="1"/>
                </a:lnTo>
                <a:lnTo>
                  <a:pt x="572" y="3"/>
                </a:lnTo>
                <a:lnTo>
                  <a:pt x="541" y="8"/>
                </a:lnTo>
                <a:lnTo>
                  <a:pt x="509" y="13"/>
                </a:lnTo>
                <a:lnTo>
                  <a:pt x="478" y="20"/>
                </a:lnTo>
                <a:lnTo>
                  <a:pt x="449" y="29"/>
                </a:lnTo>
                <a:lnTo>
                  <a:pt x="418" y="39"/>
                </a:lnTo>
                <a:lnTo>
                  <a:pt x="389" y="51"/>
                </a:lnTo>
                <a:lnTo>
                  <a:pt x="362" y="63"/>
                </a:lnTo>
                <a:lnTo>
                  <a:pt x="334" y="77"/>
                </a:lnTo>
                <a:lnTo>
                  <a:pt x="307" y="92"/>
                </a:lnTo>
                <a:lnTo>
                  <a:pt x="281" y="109"/>
                </a:lnTo>
                <a:lnTo>
                  <a:pt x="255" y="126"/>
                </a:lnTo>
                <a:lnTo>
                  <a:pt x="231" y="145"/>
                </a:lnTo>
                <a:lnTo>
                  <a:pt x="209" y="166"/>
                </a:lnTo>
                <a:lnTo>
                  <a:pt x="187" y="186"/>
                </a:lnTo>
                <a:lnTo>
                  <a:pt x="165" y="209"/>
                </a:lnTo>
                <a:lnTo>
                  <a:pt x="146" y="233"/>
                </a:lnTo>
                <a:lnTo>
                  <a:pt x="127" y="257"/>
                </a:lnTo>
                <a:lnTo>
                  <a:pt x="108" y="282"/>
                </a:lnTo>
                <a:lnTo>
                  <a:pt x="93" y="308"/>
                </a:lnTo>
                <a:lnTo>
                  <a:pt x="77" y="334"/>
                </a:lnTo>
                <a:lnTo>
                  <a:pt x="62" y="361"/>
                </a:lnTo>
                <a:lnTo>
                  <a:pt x="50" y="390"/>
                </a:lnTo>
                <a:lnTo>
                  <a:pt x="38" y="420"/>
                </a:lnTo>
                <a:lnTo>
                  <a:pt x="27" y="449"/>
                </a:lnTo>
                <a:lnTo>
                  <a:pt x="19" y="480"/>
                </a:lnTo>
                <a:lnTo>
                  <a:pt x="12" y="510"/>
                </a:lnTo>
                <a:lnTo>
                  <a:pt x="7" y="541"/>
                </a:lnTo>
                <a:lnTo>
                  <a:pt x="3" y="574"/>
                </a:lnTo>
                <a:lnTo>
                  <a:pt x="0" y="606"/>
                </a:lnTo>
                <a:lnTo>
                  <a:pt x="0" y="639"/>
                </a:lnTo>
                <a:lnTo>
                  <a:pt x="0" y="639"/>
                </a:lnTo>
                <a:lnTo>
                  <a:pt x="0" y="671"/>
                </a:lnTo>
                <a:lnTo>
                  <a:pt x="3" y="704"/>
                </a:lnTo>
                <a:lnTo>
                  <a:pt x="7" y="737"/>
                </a:lnTo>
                <a:lnTo>
                  <a:pt x="12" y="767"/>
                </a:lnTo>
                <a:lnTo>
                  <a:pt x="19" y="798"/>
                </a:lnTo>
                <a:lnTo>
                  <a:pt x="27" y="829"/>
                </a:lnTo>
                <a:lnTo>
                  <a:pt x="38" y="858"/>
                </a:lnTo>
                <a:lnTo>
                  <a:pt x="50" y="887"/>
                </a:lnTo>
                <a:lnTo>
                  <a:pt x="62" y="917"/>
                </a:lnTo>
                <a:lnTo>
                  <a:pt x="77" y="944"/>
                </a:lnTo>
                <a:lnTo>
                  <a:pt x="93" y="971"/>
                </a:lnTo>
                <a:lnTo>
                  <a:pt x="108" y="997"/>
                </a:lnTo>
                <a:lnTo>
                  <a:pt x="127" y="1021"/>
                </a:lnTo>
                <a:lnTo>
                  <a:pt x="146" y="1045"/>
                </a:lnTo>
                <a:lnTo>
                  <a:pt x="165" y="1069"/>
                </a:lnTo>
                <a:lnTo>
                  <a:pt x="187" y="1091"/>
                </a:lnTo>
                <a:lnTo>
                  <a:pt x="209" y="1112"/>
                </a:lnTo>
                <a:lnTo>
                  <a:pt x="231" y="1133"/>
                </a:lnTo>
                <a:lnTo>
                  <a:pt x="255" y="1151"/>
                </a:lnTo>
                <a:lnTo>
                  <a:pt x="281" y="1169"/>
                </a:lnTo>
                <a:lnTo>
                  <a:pt x="307" y="1186"/>
                </a:lnTo>
                <a:lnTo>
                  <a:pt x="334" y="1201"/>
                </a:lnTo>
                <a:lnTo>
                  <a:pt x="362" y="1215"/>
                </a:lnTo>
                <a:lnTo>
                  <a:pt x="389" y="1229"/>
                </a:lnTo>
                <a:lnTo>
                  <a:pt x="418" y="1239"/>
                </a:lnTo>
                <a:lnTo>
                  <a:pt x="449" y="1249"/>
                </a:lnTo>
                <a:lnTo>
                  <a:pt x="478" y="1258"/>
                </a:lnTo>
                <a:lnTo>
                  <a:pt x="509" y="1266"/>
                </a:lnTo>
                <a:lnTo>
                  <a:pt x="541" y="1271"/>
                </a:lnTo>
                <a:lnTo>
                  <a:pt x="572" y="1275"/>
                </a:lnTo>
                <a:lnTo>
                  <a:pt x="605" y="1278"/>
                </a:lnTo>
                <a:lnTo>
                  <a:pt x="639" y="1278"/>
                </a:lnTo>
                <a:lnTo>
                  <a:pt x="639" y="1278"/>
                </a:lnTo>
                <a:lnTo>
                  <a:pt x="672" y="1278"/>
                </a:lnTo>
                <a:lnTo>
                  <a:pt x="704" y="1275"/>
                </a:lnTo>
                <a:lnTo>
                  <a:pt x="735" y="1271"/>
                </a:lnTo>
                <a:lnTo>
                  <a:pt x="768" y="1266"/>
                </a:lnTo>
                <a:lnTo>
                  <a:pt x="798" y="1258"/>
                </a:lnTo>
                <a:lnTo>
                  <a:pt x="828" y="1249"/>
                </a:lnTo>
                <a:lnTo>
                  <a:pt x="858" y="1239"/>
                </a:lnTo>
                <a:lnTo>
                  <a:pt x="887" y="1229"/>
                </a:lnTo>
                <a:lnTo>
                  <a:pt x="915" y="1215"/>
                </a:lnTo>
                <a:lnTo>
                  <a:pt x="942" y="1201"/>
                </a:lnTo>
                <a:lnTo>
                  <a:pt x="970" y="1186"/>
                </a:lnTo>
                <a:lnTo>
                  <a:pt x="995" y="1169"/>
                </a:lnTo>
                <a:lnTo>
                  <a:pt x="1021" y="1151"/>
                </a:lnTo>
                <a:lnTo>
                  <a:pt x="1045" y="1133"/>
                </a:lnTo>
                <a:lnTo>
                  <a:pt x="1067" y="1112"/>
                </a:lnTo>
                <a:lnTo>
                  <a:pt x="1090" y="1091"/>
                </a:lnTo>
                <a:lnTo>
                  <a:pt x="1112" y="1069"/>
                </a:lnTo>
                <a:lnTo>
                  <a:pt x="1131" y="1045"/>
                </a:lnTo>
                <a:lnTo>
                  <a:pt x="1150" y="1021"/>
                </a:lnTo>
                <a:lnTo>
                  <a:pt x="1168" y="997"/>
                </a:lnTo>
                <a:lnTo>
                  <a:pt x="1184" y="971"/>
                </a:lnTo>
                <a:lnTo>
                  <a:pt x="1199" y="944"/>
                </a:lnTo>
                <a:lnTo>
                  <a:pt x="1215" y="917"/>
                </a:lnTo>
                <a:lnTo>
                  <a:pt x="1227" y="887"/>
                </a:lnTo>
                <a:lnTo>
                  <a:pt x="1239" y="858"/>
                </a:lnTo>
                <a:lnTo>
                  <a:pt x="1249" y="829"/>
                </a:lnTo>
                <a:lnTo>
                  <a:pt x="1257" y="798"/>
                </a:lnTo>
                <a:lnTo>
                  <a:pt x="1264" y="767"/>
                </a:lnTo>
                <a:lnTo>
                  <a:pt x="1269" y="737"/>
                </a:lnTo>
                <a:lnTo>
                  <a:pt x="1273" y="704"/>
                </a:lnTo>
                <a:lnTo>
                  <a:pt x="1276" y="671"/>
                </a:lnTo>
                <a:lnTo>
                  <a:pt x="1276" y="639"/>
                </a:lnTo>
                <a:lnTo>
                  <a:pt x="1276" y="639"/>
                </a:lnTo>
                <a:lnTo>
                  <a:pt x="1276" y="606"/>
                </a:lnTo>
                <a:lnTo>
                  <a:pt x="1273" y="574"/>
                </a:lnTo>
                <a:lnTo>
                  <a:pt x="1269" y="541"/>
                </a:lnTo>
                <a:lnTo>
                  <a:pt x="1264" y="510"/>
                </a:lnTo>
                <a:lnTo>
                  <a:pt x="1257" y="480"/>
                </a:lnTo>
                <a:lnTo>
                  <a:pt x="1249" y="449"/>
                </a:lnTo>
                <a:lnTo>
                  <a:pt x="1239" y="420"/>
                </a:lnTo>
                <a:lnTo>
                  <a:pt x="1227" y="390"/>
                </a:lnTo>
                <a:lnTo>
                  <a:pt x="1215" y="361"/>
                </a:lnTo>
                <a:lnTo>
                  <a:pt x="1199" y="334"/>
                </a:lnTo>
                <a:lnTo>
                  <a:pt x="1184" y="308"/>
                </a:lnTo>
                <a:lnTo>
                  <a:pt x="1168" y="282"/>
                </a:lnTo>
                <a:lnTo>
                  <a:pt x="1150" y="257"/>
                </a:lnTo>
                <a:lnTo>
                  <a:pt x="1131" y="233"/>
                </a:lnTo>
                <a:lnTo>
                  <a:pt x="1112" y="209"/>
                </a:lnTo>
                <a:lnTo>
                  <a:pt x="1090" y="186"/>
                </a:lnTo>
                <a:lnTo>
                  <a:pt x="1067" y="166"/>
                </a:lnTo>
                <a:lnTo>
                  <a:pt x="1045" y="145"/>
                </a:lnTo>
                <a:lnTo>
                  <a:pt x="1021" y="126"/>
                </a:lnTo>
                <a:lnTo>
                  <a:pt x="995" y="109"/>
                </a:lnTo>
                <a:lnTo>
                  <a:pt x="970" y="92"/>
                </a:lnTo>
                <a:lnTo>
                  <a:pt x="942" y="77"/>
                </a:lnTo>
                <a:lnTo>
                  <a:pt x="915" y="63"/>
                </a:lnTo>
                <a:lnTo>
                  <a:pt x="887" y="51"/>
                </a:lnTo>
                <a:lnTo>
                  <a:pt x="858" y="39"/>
                </a:lnTo>
                <a:lnTo>
                  <a:pt x="828" y="29"/>
                </a:lnTo>
                <a:lnTo>
                  <a:pt x="798" y="20"/>
                </a:lnTo>
                <a:lnTo>
                  <a:pt x="768" y="13"/>
                </a:lnTo>
                <a:lnTo>
                  <a:pt x="735" y="8"/>
                </a:lnTo>
                <a:lnTo>
                  <a:pt x="704" y="3"/>
                </a:lnTo>
                <a:lnTo>
                  <a:pt x="672" y="1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869" y="274"/>
                </a:moveTo>
                <a:lnTo>
                  <a:pt x="869" y="274"/>
                </a:lnTo>
                <a:lnTo>
                  <a:pt x="882" y="274"/>
                </a:lnTo>
                <a:lnTo>
                  <a:pt x="893" y="276"/>
                </a:lnTo>
                <a:lnTo>
                  <a:pt x="905" y="279"/>
                </a:lnTo>
                <a:lnTo>
                  <a:pt x="917" y="282"/>
                </a:lnTo>
                <a:lnTo>
                  <a:pt x="927" y="288"/>
                </a:lnTo>
                <a:lnTo>
                  <a:pt x="935" y="294"/>
                </a:lnTo>
                <a:lnTo>
                  <a:pt x="946" y="301"/>
                </a:lnTo>
                <a:lnTo>
                  <a:pt x="954" y="308"/>
                </a:lnTo>
                <a:lnTo>
                  <a:pt x="961" y="317"/>
                </a:lnTo>
                <a:lnTo>
                  <a:pt x="968" y="325"/>
                </a:lnTo>
                <a:lnTo>
                  <a:pt x="975" y="336"/>
                </a:lnTo>
                <a:lnTo>
                  <a:pt x="980" y="346"/>
                </a:lnTo>
                <a:lnTo>
                  <a:pt x="983" y="358"/>
                </a:lnTo>
                <a:lnTo>
                  <a:pt x="987" y="368"/>
                </a:lnTo>
                <a:lnTo>
                  <a:pt x="989" y="380"/>
                </a:lnTo>
                <a:lnTo>
                  <a:pt x="989" y="392"/>
                </a:lnTo>
                <a:lnTo>
                  <a:pt x="750" y="392"/>
                </a:lnTo>
                <a:lnTo>
                  <a:pt x="750" y="392"/>
                </a:lnTo>
                <a:lnTo>
                  <a:pt x="750" y="380"/>
                </a:lnTo>
                <a:lnTo>
                  <a:pt x="752" y="368"/>
                </a:lnTo>
                <a:lnTo>
                  <a:pt x="756" y="358"/>
                </a:lnTo>
                <a:lnTo>
                  <a:pt x="759" y="346"/>
                </a:lnTo>
                <a:lnTo>
                  <a:pt x="764" y="336"/>
                </a:lnTo>
                <a:lnTo>
                  <a:pt x="771" y="325"/>
                </a:lnTo>
                <a:lnTo>
                  <a:pt x="778" y="317"/>
                </a:lnTo>
                <a:lnTo>
                  <a:pt x="785" y="308"/>
                </a:lnTo>
                <a:lnTo>
                  <a:pt x="793" y="301"/>
                </a:lnTo>
                <a:lnTo>
                  <a:pt x="802" y="294"/>
                </a:lnTo>
                <a:lnTo>
                  <a:pt x="812" y="288"/>
                </a:lnTo>
                <a:lnTo>
                  <a:pt x="822" y="282"/>
                </a:lnTo>
                <a:lnTo>
                  <a:pt x="834" y="279"/>
                </a:lnTo>
                <a:lnTo>
                  <a:pt x="845" y="276"/>
                </a:lnTo>
                <a:lnTo>
                  <a:pt x="857" y="274"/>
                </a:lnTo>
                <a:lnTo>
                  <a:pt x="869" y="274"/>
                </a:lnTo>
                <a:lnTo>
                  <a:pt x="869" y="274"/>
                </a:lnTo>
                <a:close/>
                <a:moveTo>
                  <a:pt x="408" y="274"/>
                </a:moveTo>
                <a:lnTo>
                  <a:pt x="408" y="274"/>
                </a:lnTo>
                <a:lnTo>
                  <a:pt x="420" y="274"/>
                </a:lnTo>
                <a:lnTo>
                  <a:pt x="432" y="276"/>
                </a:lnTo>
                <a:lnTo>
                  <a:pt x="442" y="279"/>
                </a:lnTo>
                <a:lnTo>
                  <a:pt x="454" y="282"/>
                </a:lnTo>
                <a:lnTo>
                  <a:pt x="464" y="288"/>
                </a:lnTo>
                <a:lnTo>
                  <a:pt x="475" y="294"/>
                </a:lnTo>
                <a:lnTo>
                  <a:pt x="483" y="301"/>
                </a:lnTo>
                <a:lnTo>
                  <a:pt x="492" y="308"/>
                </a:lnTo>
                <a:lnTo>
                  <a:pt x="499" y="317"/>
                </a:lnTo>
                <a:lnTo>
                  <a:pt x="505" y="325"/>
                </a:lnTo>
                <a:lnTo>
                  <a:pt x="512" y="336"/>
                </a:lnTo>
                <a:lnTo>
                  <a:pt x="517" y="346"/>
                </a:lnTo>
                <a:lnTo>
                  <a:pt x="521" y="358"/>
                </a:lnTo>
                <a:lnTo>
                  <a:pt x="524" y="368"/>
                </a:lnTo>
                <a:lnTo>
                  <a:pt x="526" y="380"/>
                </a:lnTo>
                <a:lnTo>
                  <a:pt x="526" y="392"/>
                </a:lnTo>
                <a:lnTo>
                  <a:pt x="288" y="392"/>
                </a:lnTo>
                <a:lnTo>
                  <a:pt x="288" y="392"/>
                </a:lnTo>
                <a:lnTo>
                  <a:pt x="288" y="380"/>
                </a:lnTo>
                <a:lnTo>
                  <a:pt x="290" y="368"/>
                </a:lnTo>
                <a:lnTo>
                  <a:pt x="293" y="358"/>
                </a:lnTo>
                <a:lnTo>
                  <a:pt x="296" y="346"/>
                </a:lnTo>
                <a:lnTo>
                  <a:pt x="302" y="336"/>
                </a:lnTo>
                <a:lnTo>
                  <a:pt x="308" y="325"/>
                </a:lnTo>
                <a:lnTo>
                  <a:pt x="315" y="317"/>
                </a:lnTo>
                <a:lnTo>
                  <a:pt x="322" y="308"/>
                </a:lnTo>
                <a:lnTo>
                  <a:pt x="331" y="301"/>
                </a:lnTo>
                <a:lnTo>
                  <a:pt x="341" y="294"/>
                </a:lnTo>
                <a:lnTo>
                  <a:pt x="350" y="288"/>
                </a:lnTo>
                <a:lnTo>
                  <a:pt x="360" y="282"/>
                </a:lnTo>
                <a:lnTo>
                  <a:pt x="372" y="279"/>
                </a:lnTo>
                <a:lnTo>
                  <a:pt x="384" y="276"/>
                </a:lnTo>
                <a:lnTo>
                  <a:pt x="394" y="274"/>
                </a:lnTo>
                <a:lnTo>
                  <a:pt x="408" y="274"/>
                </a:lnTo>
                <a:lnTo>
                  <a:pt x="408" y="274"/>
                </a:lnTo>
                <a:close/>
                <a:moveTo>
                  <a:pt x="639" y="1136"/>
                </a:moveTo>
                <a:lnTo>
                  <a:pt x="639" y="1136"/>
                </a:lnTo>
                <a:lnTo>
                  <a:pt x="613" y="1134"/>
                </a:lnTo>
                <a:lnTo>
                  <a:pt x="588" y="1133"/>
                </a:lnTo>
                <a:lnTo>
                  <a:pt x="562" y="1129"/>
                </a:lnTo>
                <a:lnTo>
                  <a:pt x="538" y="1126"/>
                </a:lnTo>
                <a:lnTo>
                  <a:pt x="514" y="1121"/>
                </a:lnTo>
                <a:lnTo>
                  <a:pt x="490" y="1114"/>
                </a:lnTo>
                <a:lnTo>
                  <a:pt x="468" y="1105"/>
                </a:lnTo>
                <a:lnTo>
                  <a:pt x="445" y="1097"/>
                </a:lnTo>
                <a:lnTo>
                  <a:pt x="423" y="1086"/>
                </a:lnTo>
                <a:lnTo>
                  <a:pt x="401" y="1076"/>
                </a:lnTo>
                <a:lnTo>
                  <a:pt x="380" y="1064"/>
                </a:lnTo>
                <a:lnTo>
                  <a:pt x="362" y="1050"/>
                </a:lnTo>
                <a:lnTo>
                  <a:pt x="341" y="1037"/>
                </a:lnTo>
                <a:lnTo>
                  <a:pt x="322" y="1023"/>
                </a:lnTo>
                <a:lnTo>
                  <a:pt x="305" y="1007"/>
                </a:lnTo>
                <a:lnTo>
                  <a:pt x="288" y="990"/>
                </a:lnTo>
                <a:lnTo>
                  <a:pt x="271" y="973"/>
                </a:lnTo>
                <a:lnTo>
                  <a:pt x="255" y="954"/>
                </a:lnTo>
                <a:lnTo>
                  <a:pt x="240" y="935"/>
                </a:lnTo>
                <a:lnTo>
                  <a:pt x="226" y="917"/>
                </a:lnTo>
                <a:lnTo>
                  <a:pt x="214" y="896"/>
                </a:lnTo>
                <a:lnTo>
                  <a:pt x="202" y="875"/>
                </a:lnTo>
                <a:lnTo>
                  <a:pt x="190" y="855"/>
                </a:lnTo>
                <a:lnTo>
                  <a:pt x="182" y="833"/>
                </a:lnTo>
                <a:lnTo>
                  <a:pt x="173" y="810"/>
                </a:lnTo>
                <a:lnTo>
                  <a:pt x="165" y="786"/>
                </a:lnTo>
                <a:lnTo>
                  <a:pt x="158" y="764"/>
                </a:lnTo>
                <a:lnTo>
                  <a:pt x="153" y="740"/>
                </a:lnTo>
                <a:lnTo>
                  <a:pt x="147" y="714"/>
                </a:lnTo>
                <a:lnTo>
                  <a:pt x="144" y="690"/>
                </a:lnTo>
                <a:lnTo>
                  <a:pt x="142" y="665"/>
                </a:lnTo>
                <a:lnTo>
                  <a:pt x="142" y="639"/>
                </a:lnTo>
                <a:lnTo>
                  <a:pt x="142" y="639"/>
                </a:lnTo>
                <a:lnTo>
                  <a:pt x="142" y="632"/>
                </a:lnTo>
                <a:lnTo>
                  <a:pt x="146" y="625"/>
                </a:lnTo>
                <a:lnTo>
                  <a:pt x="149" y="618"/>
                </a:lnTo>
                <a:lnTo>
                  <a:pt x="153" y="613"/>
                </a:lnTo>
                <a:lnTo>
                  <a:pt x="153" y="613"/>
                </a:lnTo>
                <a:lnTo>
                  <a:pt x="159" y="608"/>
                </a:lnTo>
                <a:lnTo>
                  <a:pt x="165" y="605"/>
                </a:lnTo>
                <a:lnTo>
                  <a:pt x="171" y="603"/>
                </a:lnTo>
                <a:lnTo>
                  <a:pt x="180" y="603"/>
                </a:lnTo>
                <a:lnTo>
                  <a:pt x="1096" y="603"/>
                </a:lnTo>
                <a:lnTo>
                  <a:pt x="1096" y="603"/>
                </a:lnTo>
                <a:lnTo>
                  <a:pt x="1105" y="603"/>
                </a:lnTo>
                <a:lnTo>
                  <a:pt x="1112" y="605"/>
                </a:lnTo>
                <a:lnTo>
                  <a:pt x="1117" y="608"/>
                </a:lnTo>
                <a:lnTo>
                  <a:pt x="1124" y="613"/>
                </a:lnTo>
                <a:lnTo>
                  <a:pt x="1124" y="613"/>
                </a:lnTo>
                <a:lnTo>
                  <a:pt x="1127" y="618"/>
                </a:lnTo>
                <a:lnTo>
                  <a:pt x="1131" y="625"/>
                </a:lnTo>
                <a:lnTo>
                  <a:pt x="1134" y="632"/>
                </a:lnTo>
                <a:lnTo>
                  <a:pt x="1134" y="639"/>
                </a:lnTo>
                <a:lnTo>
                  <a:pt x="1134" y="639"/>
                </a:lnTo>
                <a:lnTo>
                  <a:pt x="1134" y="665"/>
                </a:lnTo>
                <a:lnTo>
                  <a:pt x="1132" y="690"/>
                </a:lnTo>
                <a:lnTo>
                  <a:pt x="1129" y="714"/>
                </a:lnTo>
                <a:lnTo>
                  <a:pt x="1124" y="740"/>
                </a:lnTo>
                <a:lnTo>
                  <a:pt x="1119" y="764"/>
                </a:lnTo>
                <a:lnTo>
                  <a:pt x="1112" y="786"/>
                </a:lnTo>
                <a:lnTo>
                  <a:pt x="1105" y="810"/>
                </a:lnTo>
                <a:lnTo>
                  <a:pt x="1095" y="833"/>
                </a:lnTo>
                <a:lnTo>
                  <a:pt x="1086" y="855"/>
                </a:lnTo>
                <a:lnTo>
                  <a:pt x="1074" y="875"/>
                </a:lnTo>
                <a:lnTo>
                  <a:pt x="1062" y="896"/>
                </a:lnTo>
                <a:lnTo>
                  <a:pt x="1050" y="917"/>
                </a:lnTo>
                <a:lnTo>
                  <a:pt x="1037" y="935"/>
                </a:lnTo>
                <a:lnTo>
                  <a:pt x="1021" y="954"/>
                </a:lnTo>
                <a:lnTo>
                  <a:pt x="1006" y="973"/>
                </a:lnTo>
                <a:lnTo>
                  <a:pt x="989" y="990"/>
                </a:lnTo>
                <a:lnTo>
                  <a:pt x="971" y="1007"/>
                </a:lnTo>
                <a:lnTo>
                  <a:pt x="954" y="1023"/>
                </a:lnTo>
                <a:lnTo>
                  <a:pt x="935" y="1037"/>
                </a:lnTo>
                <a:lnTo>
                  <a:pt x="915" y="1050"/>
                </a:lnTo>
                <a:lnTo>
                  <a:pt x="896" y="1064"/>
                </a:lnTo>
                <a:lnTo>
                  <a:pt x="875" y="1076"/>
                </a:lnTo>
                <a:lnTo>
                  <a:pt x="853" y="1086"/>
                </a:lnTo>
                <a:lnTo>
                  <a:pt x="831" y="1097"/>
                </a:lnTo>
                <a:lnTo>
                  <a:pt x="809" y="1105"/>
                </a:lnTo>
                <a:lnTo>
                  <a:pt x="786" y="1114"/>
                </a:lnTo>
                <a:lnTo>
                  <a:pt x="762" y="1121"/>
                </a:lnTo>
                <a:lnTo>
                  <a:pt x="738" y="1126"/>
                </a:lnTo>
                <a:lnTo>
                  <a:pt x="714" y="1129"/>
                </a:lnTo>
                <a:lnTo>
                  <a:pt x="689" y="1133"/>
                </a:lnTo>
                <a:lnTo>
                  <a:pt x="663" y="1134"/>
                </a:lnTo>
                <a:lnTo>
                  <a:pt x="639" y="1136"/>
                </a:lnTo>
                <a:lnTo>
                  <a:pt x="639" y="11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ysClr val="windowText" lastClr="000000"/>
              </a:solidFill>
            </a:endParaRPr>
          </a:p>
        </p:txBody>
      </p:sp>
      <p:sp>
        <p:nvSpPr>
          <p:cNvPr id="22" name="Text Placeholder 1"/>
          <p:cNvSpPr txBox="1">
            <a:spLocks/>
          </p:cNvSpPr>
          <p:nvPr/>
        </p:nvSpPr>
        <p:spPr>
          <a:xfrm>
            <a:off x="4469187" y="7018678"/>
            <a:ext cx="5363269" cy="2154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chemeClr val="bg1"/>
                </a:solidFill>
              </a:rPr>
              <a:t>Source</a:t>
            </a:r>
            <a:r>
              <a:rPr lang="en-US" sz="800" b="0" dirty="0" smtClean="0">
                <a:solidFill>
                  <a:schemeClr val="bg1"/>
                </a:solidFill>
              </a:rPr>
              <a:t>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</a:t>
            </a:r>
            <a:r>
              <a:rPr lang="en-US" sz="800" b="0" dirty="0" smtClean="0">
                <a:solidFill>
                  <a:schemeClr val="bg1"/>
                </a:solidFill>
              </a:rPr>
              <a:t>2016.</a:t>
            </a:r>
          </a:p>
          <a:p>
            <a:pPr algn="r"/>
            <a:r>
              <a:rPr lang="en-US" sz="800" b="0" dirty="0" smtClean="0">
                <a:solidFill>
                  <a:schemeClr val="bg1"/>
                </a:solidFill>
              </a:rPr>
              <a:t>% of all time spent consuming each media associated with positive emotions </a:t>
            </a:r>
            <a:endParaRPr lang="en-US" sz="800" b="0" dirty="0">
              <a:solidFill>
                <a:schemeClr val="bg1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2922" y="1404833"/>
            <a:ext cx="612653" cy="6126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488" y="1390310"/>
            <a:ext cx="612653" cy="61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55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53" r="8798" b="247"/>
          <a:stretch/>
        </p:blipFill>
        <p:spPr>
          <a:xfrm>
            <a:off x="-11723" y="-4083"/>
            <a:ext cx="10081846" cy="6803467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071362" y="1034825"/>
            <a:ext cx="8287465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Main shopper with CHILDREN </a:t>
            </a:r>
          </a:p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HELP Drive the box office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GB" dirty="0" smtClean="0"/>
              <a:t>MAIN SHOPPERS help drive </a:t>
            </a:r>
            <a:r>
              <a:rPr lang="en-GB" dirty="0"/>
              <a:t>the box-office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9"/>
          </p:nvPr>
        </p:nvSpPr>
        <p:spPr>
          <a:xfrm>
            <a:off x="2107763" y="5571009"/>
            <a:ext cx="5877623" cy="830997"/>
          </a:xfrm>
        </p:spPr>
        <p:txBody>
          <a:bodyPr/>
          <a:lstStyle/>
          <a:p>
            <a:r>
              <a:rPr lang="en-US" sz="1600" dirty="0" smtClean="0"/>
              <a:t>Go to the cinema within </a:t>
            </a:r>
            <a:br>
              <a:rPr lang="en-US" sz="1600" dirty="0" smtClean="0"/>
            </a:br>
            <a:r>
              <a:rPr lang="en-US" sz="1600" dirty="0" smtClean="0"/>
              <a:t>a week of film opening</a:t>
            </a:r>
          </a:p>
          <a:p>
            <a:r>
              <a:rPr lang="en-US" sz="1600" b="0" dirty="0" smtClean="0"/>
              <a:t>(Index: 132)</a:t>
            </a:r>
            <a:endParaRPr lang="en-US" sz="1600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7704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  <a:endParaRPr lang="en-US" sz="800" b="0" dirty="0"/>
          </a:p>
        </p:txBody>
      </p:sp>
      <p:sp>
        <p:nvSpPr>
          <p:cNvPr id="6" name="Block Arc 5"/>
          <p:cNvSpPr/>
          <p:nvPr/>
        </p:nvSpPr>
        <p:spPr>
          <a:xfrm>
            <a:off x="3081397" y="1476801"/>
            <a:ext cx="3934443" cy="3934443"/>
          </a:xfrm>
          <a:prstGeom prst="blockArc">
            <a:avLst>
              <a:gd name="adj1" fmla="val 4913615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7486" y="29231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49%</a:t>
            </a:r>
          </a:p>
        </p:txBody>
      </p:sp>
      <p:sp>
        <p:nvSpPr>
          <p:cNvPr id="8" name="Block Arc 7"/>
          <p:cNvSpPr/>
          <p:nvPr/>
        </p:nvSpPr>
        <p:spPr>
          <a:xfrm flipH="1">
            <a:off x="3071220" y="1478066"/>
            <a:ext cx="3933178" cy="3933178"/>
          </a:xfrm>
          <a:prstGeom prst="blockArc">
            <a:avLst>
              <a:gd name="adj1" fmla="val 5618767"/>
              <a:gd name="adj2" fmla="val 16139143"/>
              <a:gd name="adj3" fmla="val 25862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8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/>
              <a:t>Why do </a:t>
            </a:r>
            <a:r>
              <a:rPr lang="en-US" b="1" dirty="0" smtClean="0"/>
              <a:t>MAIN SHOPPERS </a:t>
            </a:r>
            <a:r>
              <a:rPr lang="en-US" b="1" dirty="0"/>
              <a:t>go to the cinema</a:t>
            </a:r>
            <a:r>
              <a:rPr lang="en-US" b="1" dirty="0" smtClean="0"/>
              <a:t>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9"/>
          </p:nvPr>
        </p:nvSpPr>
        <p:spPr>
          <a:xfrm>
            <a:off x="834384" y="5676781"/>
            <a:ext cx="3951637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A trip to the cinema lets me escape from the demands of everyday life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11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0"/>
          </p:nvPr>
        </p:nvSpPr>
        <p:spPr>
          <a:xfrm>
            <a:off x="5303931" y="5676781"/>
            <a:ext cx="4134359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Cinema 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is a great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way to spend quality time with 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family and friends”</a:t>
            </a:r>
          </a:p>
          <a:p>
            <a:pPr lvl="0"/>
            <a:r>
              <a:rPr lang="en-GB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GB" sz="1600" b="0" cap="none" dirty="0" smtClean="0">
                <a:solidFill>
                  <a:srgbClr val="8A8A8D"/>
                </a:solidFill>
                <a:latin typeface="Arial"/>
              </a:rPr>
              <a:t>122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half" idx="2"/>
          </p:nvPr>
        </p:nvSpPr>
        <p:spPr>
          <a:xfrm>
            <a:off x="4397496" y="7052766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. Base: Main Shoppers with children</a:t>
            </a:r>
            <a:endParaRPr lang="en-US" sz="800" b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1662686" y="3031750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64%</a:t>
            </a:r>
          </a:p>
        </p:txBody>
      </p:sp>
      <p:sp>
        <p:nvSpPr>
          <p:cNvPr id="15" name="Block Arc 14"/>
          <p:cNvSpPr/>
          <p:nvPr/>
        </p:nvSpPr>
        <p:spPr>
          <a:xfrm rot="16200000" flipH="1">
            <a:off x="5442203" y="1680706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Block Arc 16"/>
          <p:cNvSpPr/>
          <p:nvPr/>
        </p:nvSpPr>
        <p:spPr>
          <a:xfrm rot="5400000">
            <a:off x="5438296" y="1676799"/>
            <a:ext cx="3690071" cy="3690071"/>
          </a:xfrm>
          <a:prstGeom prst="blockArc">
            <a:avLst>
              <a:gd name="adj1" fmla="val 10800000"/>
              <a:gd name="adj2" fmla="val 3685906"/>
              <a:gd name="adj3" fmla="val 27492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6272863" y="3031750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64%</a:t>
            </a:r>
          </a:p>
        </p:txBody>
      </p:sp>
      <p:sp>
        <p:nvSpPr>
          <p:cNvPr id="13" name="Block Arc 12"/>
          <p:cNvSpPr/>
          <p:nvPr/>
        </p:nvSpPr>
        <p:spPr>
          <a:xfrm rot="16200000" flipH="1">
            <a:off x="834384" y="1676798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9" name="Block Arc 18"/>
          <p:cNvSpPr/>
          <p:nvPr/>
        </p:nvSpPr>
        <p:spPr>
          <a:xfrm rot="5400000">
            <a:off x="830476" y="1676797"/>
            <a:ext cx="3690071" cy="3690071"/>
          </a:xfrm>
          <a:prstGeom prst="blockArc">
            <a:avLst>
              <a:gd name="adj1" fmla="val 10800000"/>
              <a:gd name="adj2" fmla="val 3685906"/>
              <a:gd name="adj3" fmla="val 27492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20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/>
              <a:t>HOW TO REACH THEM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285858" y="685408"/>
            <a:ext cx="9316338" cy="436608"/>
          </a:xfrm>
        </p:spPr>
        <p:txBody>
          <a:bodyPr/>
          <a:lstStyle/>
          <a:p>
            <a:r>
              <a:rPr lang="en-US" dirty="0"/>
              <a:t>Top </a:t>
            </a:r>
            <a:r>
              <a:rPr lang="en-US" dirty="0" smtClean="0"/>
              <a:t>upcoming releases for </a:t>
            </a:r>
            <a:r>
              <a:rPr lang="en-US" dirty="0"/>
              <a:t>Main S</a:t>
            </a:r>
            <a:r>
              <a:rPr lang="en-US" dirty="0" smtClean="0"/>
              <a:t>hoppers </a:t>
            </a:r>
            <a:r>
              <a:rPr lang="en-US" dirty="0"/>
              <a:t>with </a:t>
            </a:r>
            <a:r>
              <a:rPr lang="en-US" dirty="0" smtClean="0"/>
              <a:t>children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idx="19"/>
          </p:nvPr>
        </p:nvSpPr>
        <p:spPr>
          <a:xfrm>
            <a:off x="363301" y="1447210"/>
            <a:ext cx="2217683" cy="707886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Action</a:t>
            </a:r>
            <a:br>
              <a:rPr lang="en-US" b="0" dirty="0">
                <a:solidFill>
                  <a:schemeClr val="tx2"/>
                </a:solidFill>
              </a:rPr>
            </a:br>
            <a:r>
              <a:rPr lang="en-US" b="0" dirty="0" smtClean="0">
                <a:solidFill>
                  <a:schemeClr val="tx2"/>
                </a:solidFill>
              </a:rPr>
              <a:t>adventure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7" name="Text Placeholder 13"/>
          <p:cNvSpPr>
            <a:spLocks noGrp="1"/>
          </p:cNvSpPr>
          <p:nvPr>
            <p:ph type="body" idx="24"/>
          </p:nvPr>
        </p:nvSpPr>
        <p:spPr>
          <a:xfrm>
            <a:off x="498164" y="6240573"/>
            <a:ext cx="1929039" cy="153888"/>
          </a:xfrm>
        </p:spPr>
        <p:txBody>
          <a:bodyPr/>
          <a:lstStyle/>
          <a:p>
            <a:r>
              <a:rPr lang="en-US" dirty="0" smtClean="0"/>
              <a:t>Tomb Raider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idx="25"/>
          </p:nvPr>
        </p:nvSpPr>
        <p:spPr>
          <a:xfrm>
            <a:off x="507624" y="3344215"/>
            <a:ext cx="1929039" cy="307777"/>
          </a:xfrm>
        </p:spPr>
        <p:txBody>
          <a:bodyPr/>
          <a:lstStyle/>
          <a:p>
            <a:r>
              <a:rPr lang="en-US" dirty="0" smtClean="0"/>
              <a:t>Kingsman: </a:t>
            </a:r>
          </a:p>
          <a:p>
            <a:r>
              <a:rPr lang="en-US" dirty="0" smtClean="0"/>
              <a:t>The Golden Circle</a:t>
            </a:r>
            <a:endParaRPr lang="en-US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idx="26"/>
          </p:nvPr>
        </p:nvSpPr>
        <p:spPr>
          <a:xfrm>
            <a:off x="507624" y="4785794"/>
            <a:ext cx="1929039" cy="153888"/>
          </a:xfrm>
        </p:spPr>
        <p:txBody>
          <a:bodyPr/>
          <a:lstStyle/>
          <a:p>
            <a:r>
              <a:rPr lang="en-GB" dirty="0" smtClean="0"/>
              <a:t>Star Wars: The Last Jedi</a:t>
            </a:r>
            <a:endParaRPr lang="en-US" dirty="0"/>
          </a:p>
        </p:txBody>
      </p:sp>
      <p:sp>
        <p:nvSpPr>
          <p:cNvPr id="33" name="Text Placeholder 18"/>
          <p:cNvSpPr>
            <a:spLocks noGrp="1"/>
          </p:cNvSpPr>
          <p:nvPr>
            <p:ph type="body" idx="27"/>
          </p:nvPr>
        </p:nvSpPr>
        <p:spPr>
          <a:xfrm>
            <a:off x="2742672" y="1754986"/>
            <a:ext cx="2217683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animation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34" name="Text Placeholder 22"/>
          <p:cNvSpPr>
            <a:spLocks noGrp="1"/>
          </p:cNvSpPr>
          <p:nvPr>
            <p:ph type="body" idx="29"/>
          </p:nvPr>
        </p:nvSpPr>
        <p:spPr>
          <a:xfrm>
            <a:off x="2886995" y="3344215"/>
            <a:ext cx="1929039" cy="153888"/>
          </a:xfrm>
        </p:spPr>
        <p:txBody>
          <a:bodyPr/>
          <a:lstStyle/>
          <a:p>
            <a:r>
              <a:rPr lang="en-GB" dirty="0" smtClean="0"/>
              <a:t>The LEGO Ninjago Movie</a:t>
            </a:r>
            <a:endParaRPr lang="en-US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idx="30"/>
          </p:nvPr>
        </p:nvSpPr>
        <p:spPr>
          <a:xfrm>
            <a:off x="2886995" y="4785794"/>
            <a:ext cx="1929039" cy="153888"/>
          </a:xfrm>
        </p:spPr>
        <p:txBody>
          <a:bodyPr/>
          <a:lstStyle/>
          <a:p>
            <a:r>
              <a:rPr lang="en-GB" dirty="0" smtClean="0"/>
              <a:t>Coco</a:t>
            </a:r>
            <a:endParaRPr lang="en-US" dirty="0"/>
          </a:p>
        </p:txBody>
      </p:sp>
      <p:sp>
        <p:nvSpPr>
          <p:cNvPr id="36" name="Text Placeholder 28"/>
          <p:cNvSpPr>
            <a:spLocks noGrp="1"/>
          </p:cNvSpPr>
          <p:nvPr>
            <p:ph type="body" idx="31"/>
          </p:nvPr>
        </p:nvSpPr>
        <p:spPr>
          <a:xfrm>
            <a:off x="5122043" y="1754986"/>
            <a:ext cx="2217683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family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37" name="Text Placeholder 29"/>
          <p:cNvSpPr>
            <a:spLocks noGrp="1"/>
          </p:cNvSpPr>
          <p:nvPr>
            <p:ph type="body" idx="32"/>
          </p:nvPr>
        </p:nvSpPr>
        <p:spPr>
          <a:xfrm>
            <a:off x="5256906" y="3347297"/>
            <a:ext cx="1929039" cy="153888"/>
          </a:xfrm>
        </p:spPr>
        <p:txBody>
          <a:bodyPr/>
          <a:lstStyle/>
          <a:p>
            <a:r>
              <a:rPr lang="en-GB" dirty="0"/>
              <a:t>Paddington 2</a:t>
            </a:r>
            <a:endParaRPr lang="en-US" dirty="0"/>
          </a:p>
        </p:txBody>
      </p:sp>
      <p:sp>
        <p:nvSpPr>
          <p:cNvPr id="38" name="Text Placeholder 30"/>
          <p:cNvSpPr>
            <a:spLocks noGrp="1"/>
          </p:cNvSpPr>
          <p:nvPr>
            <p:ph type="body" idx="33"/>
          </p:nvPr>
        </p:nvSpPr>
        <p:spPr>
          <a:xfrm>
            <a:off x="5266366" y="4788877"/>
            <a:ext cx="1929039" cy="153888"/>
          </a:xfrm>
        </p:spPr>
        <p:txBody>
          <a:bodyPr/>
          <a:lstStyle/>
          <a:p>
            <a:r>
              <a:rPr lang="en-GB" dirty="0" smtClean="0"/>
              <a:t>Daddy’s Home 2</a:t>
            </a:r>
            <a:endParaRPr lang="en-US" dirty="0"/>
          </a:p>
        </p:txBody>
      </p:sp>
      <p:sp>
        <p:nvSpPr>
          <p:cNvPr id="39" name="Text Placeholder 31"/>
          <p:cNvSpPr>
            <a:spLocks noGrp="1"/>
          </p:cNvSpPr>
          <p:nvPr>
            <p:ph type="body" idx="34"/>
          </p:nvPr>
        </p:nvSpPr>
        <p:spPr>
          <a:xfrm>
            <a:off x="5266366" y="6230456"/>
            <a:ext cx="1929039" cy="307777"/>
          </a:xfrm>
        </p:spPr>
        <p:txBody>
          <a:bodyPr/>
          <a:lstStyle/>
          <a:p>
            <a:r>
              <a:rPr lang="en-GB" dirty="0" smtClean="0"/>
              <a:t>Jumanji: Welcome </a:t>
            </a:r>
          </a:p>
          <a:p>
            <a:r>
              <a:rPr lang="en-GB" dirty="0" smtClean="0"/>
              <a:t>to the Jungle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0" name="Text Placeholder 32"/>
          <p:cNvSpPr>
            <a:spLocks noGrp="1"/>
          </p:cNvSpPr>
          <p:nvPr>
            <p:ph type="body" idx="35"/>
          </p:nvPr>
        </p:nvSpPr>
        <p:spPr>
          <a:xfrm>
            <a:off x="7501415" y="1754986"/>
            <a:ext cx="2217682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ROMANCE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41" name="Text Placeholder 33"/>
          <p:cNvSpPr>
            <a:spLocks noGrp="1"/>
          </p:cNvSpPr>
          <p:nvPr>
            <p:ph type="body" idx="36"/>
          </p:nvPr>
        </p:nvSpPr>
        <p:spPr>
          <a:xfrm>
            <a:off x="7645737" y="3347297"/>
            <a:ext cx="1929039" cy="153888"/>
          </a:xfrm>
        </p:spPr>
        <p:txBody>
          <a:bodyPr/>
          <a:lstStyle/>
          <a:p>
            <a:r>
              <a:rPr lang="en-US" dirty="0"/>
              <a:t>Mountain Between Us</a:t>
            </a:r>
          </a:p>
        </p:txBody>
      </p:sp>
      <p:sp>
        <p:nvSpPr>
          <p:cNvPr id="42" name="Text Placeholder 34"/>
          <p:cNvSpPr>
            <a:spLocks noGrp="1"/>
          </p:cNvSpPr>
          <p:nvPr>
            <p:ph type="body" idx="37"/>
          </p:nvPr>
        </p:nvSpPr>
        <p:spPr>
          <a:xfrm>
            <a:off x="7645737" y="4788877"/>
            <a:ext cx="1929039" cy="153888"/>
          </a:xfrm>
        </p:spPr>
        <p:txBody>
          <a:bodyPr/>
          <a:lstStyle/>
          <a:p>
            <a:r>
              <a:rPr lang="en-GB" dirty="0" smtClean="0"/>
              <a:t>Breathe</a:t>
            </a:r>
            <a:endParaRPr lang="en-US" dirty="0"/>
          </a:p>
        </p:txBody>
      </p:sp>
      <p:sp>
        <p:nvSpPr>
          <p:cNvPr id="43" name="Text Placeholder 35"/>
          <p:cNvSpPr>
            <a:spLocks noGrp="1"/>
          </p:cNvSpPr>
          <p:nvPr>
            <p:ph type="body" idx="38"/>
          </p:nvPr>
        </p:nvSpPr>
        <p:spPr>
          <a:xfrm>
            <a:off x="7645737" y="6230456"/>
            <a:ext cx="1929039" cy="153888"/>
          </a:xfrm>
        </p:spPr>
        <p:txBody>
          <a:bodyPr/>
          <a:lstStyle/>
          <a:p>
            <a:r>
              <a:rPr lang="en-GB" smtClean="0"/>
              <a:t>Fifty Shades Freed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idx="39"/>
          </p:nvPr>
        </p:nvSpPr>
        <p:spPr>
          <a:xfrm>
            <a:off x="2886995" y="6240573"/>
            <a:ext cx="1929039" cy="153888"/>
          </a:xfrm>
        </p:spPr>
        <p:txBody>
          <a:bodyPr/>
          <a:lstStyle/>
          <a:p>
            <a:r>
              <a:rPr lang="en-GB" dirty="0" smtClean="0"/>
              <a:t>Early Man</a:t>
            </a:r>
            <a:endParaRPr lang="en-US" dirty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6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" b="2781"/>
          <a:stretch>
            <a:fillRect/>
          </a:stretch>
        </p:blipFill>
        <p:spPr/>
      </p:pic>
      <p:pic>
        <p:nvPicPr>
          <p:cNvPr id="3" name="Picture Placeholder 2"/>
          <p:cNvPicPr>
            <a:picLocks noGrp="1" noChangeAspect="1"/>
          </p:cNvPicPr>
          <p:nvPr>
            <p:ph type="pic" sz="quarter" idx="5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" b="86"/>
          <a:stretch>
            <a:fillRect/>
          </a:stretch>
        </p:blipFill>
        <p:spPr/>
      </p:pic>
      <p:pic>
        <p:nvPicPr>
          <p:cNvPr id="11" name="Picture Placeholder 10"/>
          <p:cNvPicPr>
            <a:picLocks noGrp="1" noChangeAspect="1"/>
          </p:cNvPicPr>
          <p:nvPr>
            <p:ph type="pic" sz="quarter" idx="5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38" b="8038"/>
          <a:stretch>
            <a:fillRect/>
          </a:stretch>
        </p:blipFill>
        <p:spPr/>
      </p:pic>
      <p:pic>
        <p:nvPicPr>
          <p:cNvPr id="7" name="Picture Placeholder 6"/>
          <p:cNvPicPr>
            <a:picLocks noGrp="1" noChangeAspect="1"/>
          </p:cNvPicPr>
          <p:nvPr>
            <p:ph type="pic" sz="quarter" idx="59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7" t="-10" r="982" b="6497"/>
          <a:stretch/>
        </p:blipFill>
        <p:spPr/>
      </p:pic>
      <p:pic>
        <p:nvPicPr>
          <p:cNvPr id="12" name="Picture Placeholder 11"/>
          <p:cNvPicPr>
            <a:picLocks noGrp="1" noChangeAspect="1"/>
          </p:cNvPicPr>
          <p:nvPr>
            <p:ph type="pic" sz="quarter" idx="63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4" r="5304"/>
          <a:stretch>
            <a:fillRect/>
          </a:stretch>
        </p:blipFill>
        <p:spPr/>
      </p:pic>
      <p:pic>
        <p:nvPicPr>
          <p:cNvPr id="10" name="Picture Placeholder 9"/>
          <p:cNvPicPr>
            <a:picLocks noGrp="1" noChangeAspect="1"/>
          </p:cNvPicPr>
          <p:nvPr>
            <p:ph type="pic" sz="quarter" idx="6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4" r="5304"/>
          <a:stretch>
            <a:fillRect/>
          </a:stretch>
        </p:blipFill>
        <p:spPr>
          <a:xfrm>
            <a:off x="3090732" y="3758656"/>
            <a:ext cx="1520825" cy="957262"/>
          </a:xfrm>
        </p:spPr>
      </p:pic>
      <p:pic>
        <p:nvPicPr>
          <p:cNvPr id="9" name="Picture Placeholder 8"/>
          <p:cNvPicPr>
            <a:picLocks noGrp="1" noChangeAspect="1"/>
          </p:cNvPicPr>
          <p:nvPr>
            <p:ph type="pic" sz="quarter" idx="58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>
          <a:xfrm>
            <a:off x="3090732" y="2310042"/>
            <a:ext cx="1520825" cy="957262"/>
          </a:xfrm>
        </p:spPr>
      </p:pic>
      <p:pic>
        <p:nvPicPr>
          <p:cNvPr id="6" name="Picture Placeholder 5"/>
          <p:cNvPicPr>
            <a:picLocks noGrp="1" noChangeAspect="1"/>
          </p:cNvPicPr>
          <p:nvPr>
            <p:ph type="pic" sz="quarter" idx="57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9790" r="1175" b="48392"/>
          <a:stretch/>
        </p:blipFill>
        <p:spPr>
          <a:xfrm>
            <a:off x="707626" y="2310042"/>
            <a:ext cx="1508162" cy="957262"/>
          </a:xfrm>
        </p:spPr>
      </p:pic>
      <p:pic>
        <p:nvPicPr>
          <p:cNvPr id="5" name="Picture Placeholder 4"/>
          <p:cNvPicPr>
            <a:picLocks noGrp="1" noChangeAspect="1"/>
          </p:cNvPicPr>
          <p:nvPr>
            <p:ph type="pic" sz="quarter" idx="6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06" t="1002" r="983" b="12002"/>
          <a:stretch/>
        </p:blipFill>
        <p:spPr>
          <a:xfrm>
            <a:off x="707626" y="3758656"/>
            <a:ext cx="1520825" cy="957262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52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3" b="2803"/>
          <a:stretch>
            <a:fillRect/>
          </a:stretch>
        </p:blipFill>
        <p:spPr>
          <a:xfrm>
            <a:off x="698500" y="5203825"/>
            <a:ext cx="1520825" cy="957263"/>
          </a:xfrm>
        </p:spPr>
      </p:pic>
      <p:pic>
        <p:nvPicPr>
          <p:cNvPr id="14" name="Picture Placeholder 13"/>
          <p:cNvPicPr>
            <a:picLocks noGrp="1" noChangeAspect="1"/>
          </p:cNvPicPr>
          <p:nvPr>
            <p:ph type="pic" sz="quarter" idx="53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38" b="8038"/>
          <a:stretch>
            <a:fillRect/>
          </a:stretch>
        </p:blipFill>
        <p:spPr>
          <a:xfrm>
            <a:off x="3081338" y="5203825"/>
            <a:ext cx="1520825" cy="957263"/>
          </a:xfrm>
        </p:spPr>
      </p:pic>
      <p:pic>
        <p:nvPicPr>
          <p:cNvPr id="13" name="Picture Placeholder 12"/>
          <p:cNvPicPr>
            <a:picLocks noGrp="1" noChangeAspect="1"/>
          </p:cNvPicPr>
          <p:nvPr>
            <p:ph type="pic" sz="quarter" idx="60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38" b="803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1575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342" y="2377848"/>
            <a:ext cx="1835463" cy="1835463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After the film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270000" y="718259"/>
            <a:ext cx="9316338" cy="436608"/>
          </a:xfrm>
        </p:spPr>
        <p:txBody>
          <a:bodyPr lIns="0" rIns="0"/>
          <a:lstStyle/>
          <a:p>
            <a:r>
              <a:rPr lang="en-US" dirty="0"/>
              <a:t>Here’s what they do after the credits </a:t>
            </a:r>
            <a:r>
              <a:rPr lang="en-US" dirty="0" smtClean="0"/>
              <a:t>roll…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5"/>
          </p:nvPr>
        </p:nvSpPr>
        <p:spPr>
          <a:xfrm>
            <a:off x="4341779" y="4324776"/>
            <a:ext cx="1288099" cy="707886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31%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9"/>
          </p:nvPr>
        </p:nvSpPr>
        <p:spPr>
          <a:xfrm>
            <a:off x="1141024" y="4324776"/>
            <a:ext cx="1288099" cy="707886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57%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1"/>
          </p:nvPr>
        </p:nvSpPr>
        <p:spPr>
          <a:xfrm>
            <a:off x="579589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for food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d/or drink</a:t>
            </a:r>
          </a:p>
          <a:p>
            <a:r>
              <a:rPr lang="en-US" sz="1600" b="0" cap="none" dirty="0" smtClean="0">
                <a:solidFill>
                  <a:schemeClr val="accent6"/>
                </a:solidFill>
                <a:latin typeface="+mn-lt"/>
              </a:rPr>
              <a:t>(Index: 153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2"/>
          </p:nvPr>
        </p:nvSpPr>
        <p:spPr>
          <a:xfrm>
            <a:off x="3780344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grocery shopping 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99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20618" y="2535935"/>
            <a:ext cx="1528910" cy="1528910"/>
            <a:chOff x="1311394" y="2535935"/>
            <a:chExt cx="1528910" cy="1528910"/>
          </a:xfrm>
        </p:grpSpPr>
        <p:sp>
          <p:nvSpPr>
            <p:cNvPr id="3" name="Oval 2"/>
            <p:cNvSpPr/>
            <p:nvPr/>
          </p:nvSpPr>
          <p:spPr>
            <a:xfrm>
              <a:off x="1311394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1529117" y="2741994"/>
              <a:ext cx="1093464" cy="957606"/>
            </a:xfrm>
            <a:custGeom>
              <a:avLst/>
              <a:gdLst>
                <a:gd name="T0" fmla="*/ 70 w 1658"/>
                <a:gd name="T1" fmla="*/ 327 h 1451"/>
                <a:gd name="T2" fmla="*/ 276 w 1658"/>
                <a:gd name="T3" fmla="*/ 135 h 1451"/>
                <a:gd name="T4" fmla="*/ 663 w 1658"/>
                <a:gd name="T5" fmla="*/ 10 h 1451"/>
                <a:gd name="T6" fmla="*/ 1187 w 1658"/>
                <a:gd name="T7" fmla="*/ 51 h 1451"/>
                <a:gd name="T8" fmla="*/ 1577 w 1658"/>
                <a:gd name="T9" fmla="*/ 308 h 1451"/>
                <a:gd name="T10" fmla="*/ 1653 w 1658"/>
                <a:gd name="T11" fmla="*/ 552 h 1451"/>
                <a:gd name="T12" fmla="*/ 1473 w 1658"/>
                <a:gd name="T13" fmla="*/ 648 h 1451"/>
                <a:gd name="T14" fmla="*/ 1353 w 1658"/>
                <a:gd name="T15" fmla="*/ 766 h 1451"/>
                <a:gd name="T16" fmla="*/ 1141 w 1658"/>
                <a:gd name="T17" fmla="*/ 852 h 1451"/>
                <a:gd name="T18" fmla="*/ 1161 w 1658"/>
                <a:gd name="T19" fmla="*/ 639 h 1451"/>
                <a:gd name="T20" fmla="*/ 1631 w 1658"/>
                <a:gd name="T21" fmla="*/ 1242 h 1451"/>
                <a:gd name="T22" fmla="*/ 1394 w 1658"/>
                <a:gd name="T23" fmla="*/ 1450 h 1451"/>
                <a:gd name="T24" fmla="*/ 90 w 1658"/>
                <a:gd name="T25" fmla="*/ 1352 h 1451"/>
                <a:gd name="T26" fmla="*/ 1653 w 1658"/>
                <a:gd name="T27" fmla="*/ 1109 h 1451"/>
                <a:gd name="T28" fmla="*/ 49 w 1658"/>
                <a:gd name="T29" fmla="*/ 984 h 1451"/>
                <a:gd name="T30" fmla="*/ 1 w 1658"/>
                <a:gd name="T31" fmla="*/ 834 h 1451"/>
                <a:gd name="T32" fmla="*/ 776 w 1658"/>
                <a:gd name="T33" fmla="*/ 848 h 1451"/>
                <a:gd name="T34" fmla="*/ 1189 w 1658"/>
                <a:gd name="T35" fmla="*/ 944 h 1451"/>
                <a:gd name="T36" fmla="*/ 1470 w 1658"/>
                <a:gd name="T37" fmla="*/ 781 h 1451"/>
                <a:gd name="T38" fmla="*/ 1615 w 1658"/>
                <a:gd name="T39" fmla="*/ 742 h 1451"/>
                <a:gd name="T40" fmla="*/ 1658 w 1658"/>
                <a:gd name="T41" fmla="*/ 876 h 1451"/>
                <a:gd name="T42" fmla="*/ 1577 w 1658"/>
                <a:gd name="T43" fmla="*/ 1006 h 1451"/>
                <a:gd name="T44" fmla="*/ 353 w 1658"/>
                <a:gd name="T45" fmla="*/ 269 h 1451"/>
                <a:gd name="T46" fmla="*/ 315 w 1658"/>
                <a:gd name="T47" fmla="*/ 180 h 1451"/>
                <a:gd name="T48" fmla="*/ 245 w 1658"/>
                <a:gd name="T49" fmla="*/ 236 h 1451"/>
                <a:gd name="T50" fmla="*/ 550 w 1658"/>
                <a:gd name="T51" fmla="*/ 449 h 1451"/>
                <a:gd name="T52" fmla="*/ 587 w 1658"/>
                <a:gd name="T53" fmla="*/ 360 h 1451"/>
                <a:gd name="T54" fmla="*/ 490 w 1658"/>
                <a:gd name="T55" fmla="*/ 360 h 1451"/>
                <a:gd name="T56" fmla="*/ 526 w 1658"/>
                <a:gd name="T57" fmla="*/ 449 h 1451"/>
                <a:gd name="T58" fmla="*/ 640 w 1658"/>
                <a:gd name="T59" fmla="*/ 133 h 1451"/>
                <a:gd name="T60" fmla="*/ 570 w 1658"/>
                <a:gd name="T61" fmla="*/ 75 h 1451"/>
                <a:gd name="T62" fmla="*/ 534 w 1658"/>
                <a:gd name="T63" fmla="*/ 166 h 1451"/>
                <a:gd name="T64" fmla="*/ 774 w 1658"/>
                <a:gd name="T65" fmla="*/ 313 h 1451"/>
                <a:gd name="T66" fmla="*/ 755 w 1658"/>
                <a:gd name="T67" fmla="*/ 219 h 1451"/>
                <a:gd name="T68" fmla="*/ 673 w 1658"/>
                <a:gd name="T69" fmla="*/ 272 h 1451"/>
                <a:gd name="T70" fmla="*/ 923 w 1658"/>
                <a:gd name="T71" fmla="*/ 351 h 1451"/>
                <a:gd name="T72" fmla="*/ 868 w 1658"/>
                <a:gd name="T73" fmla="*/ 432 h 1451"/>
                <a:gd name="T74" fmla="*/ 964 w 1658"/>
                <a:gd name="T75" fmla="*/ 450 h 1451"/>
                <a:gd name="T76" fmla="*/ 945 w 1658"/>
                <a:gd name="T77" fmla="*/ 356 h 1451"/>
                <a:gd name="T78" fmla="*/ 954 w 1658"/>
                <a:gd name="T79" fmla="*/ 111 h 1451"/>
                <a:gd name="T80" fmla="*/ 897 w 1658"/>
                <a:gd name="T81" fmla="*/ 41 h 1451"/>
                <a:gd name="T82" fmla="*/ 843 w 1658"/>
                <a:gd name="T83" fmla="*/ 121 h 1451"/>
                <a:gd name="T84" fmla="*/ 1048 w 1658"/>
                <a:gd name="T85" fmla="*/ 303 h 1451"/>
                <a:gd name="T86" fmla="*/ 1048 w 1658"/>
                <a:gd name="T87" fmla="*/ 205 h 1451"/>
                <a:gd name="T88" fmla="*/ 959 w 1658"/>
                <a:gd name="T89" fmla="*/ 243 h 1451"/>
                <a:gd name="T90" fmla="*/ 1173 w 1658"/>
                <a:gd name="T91" fmla="*/ 226 h 1451"/>
                <a:gd name="T92" fmla="*/ 1230 w 1658"/>
                <a:gd name="T93" fmla="*/ 156 h 1451"/>
                <a:gd name="T94" fmla="*/ 1141 w 1658"/>
                <a:gd name="T95" fmla="*/ 120 h 1451"/>
                <a:gd name="T96" fmla="*/ 1141 w 1658"/>
                <a:gd name="T97" fmla="*/ 216 h 1451"/>
                <a:gd name="T98" fmla="*/ 1452 w 1658"/>
                <a:gd name="T99" fmla="*/ 307 h 1451"/>
                <a:gd name="T100" fmla="*/ 1398 w 1658"/>
                <a:gd name="T101" fmla="*/ 226 h 1451"/>
                <a:gd name="T102" fmla="*/ 1341 w 1658"/>
                <a:gd name="T103" fmla="*/ 296 h 1451"/>
                <a:gd name="T104" fmla="*/ 1178 w 1658"/>
                <a:gd name="T105" fmla="*/ 447 h 1451"/>
                <a:gd name="T106" fmla="*/ 1274 w 1658"/>
                <a:gd name="T107" fmla="*/ 466 h 1451"/>
                <a:gd name="T108" fmla="*/ 1255 w 1658"/>
                <a:gd name="T109" fmla="*/ 372 h 1451"/>
                <a:gd name="T110" fmla="*/ 1173 w 1658"/>
                <a:gd name="T111" fmla="*/ 425 h 1451"/>
                <a:gd name="T112" fmla="*/ 349 w 1658"/>
                <a:gd name="T113" fmla="*/ 425 h 1451"/>
                <a:gd name="T114" fmla="*/ 269 w 1658"/>
                <a:gd name="T115" fmla="*/ 372 h 1451"/>
                <a:gd name="T116" fmla="*/ 250 w 1658"/>
                <a:gd name="T117" fmla="*/ 46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58" h="1451">
                  <a:moveTo>
                    <a:pt x="5" y="550"/>
                  </a:moveTo>
                  <a:lnTo>
                    <a:pt x="5" y="550"/>
                  </a:lnTo>
                  <a:lnTo>
                    <a:pt x="7" y="521"/>
                  </a:lnTo>
                  <a:lnTo>
                    <a:pt x="10" y="490"/>
                  </a:lnTo>
                  <a:lnTo>
                    <a:pt x="15" y="462"/>
                  </a:lnTo>
                  <a:lnTo>
                    <a:pt x="22" y="433"/>
                  </a:lnTo>
                  <a:lnTo>
                    <a:pt x="31" y="406"/>
                  </a:lnTo>
                  <a:lnTo>
                    <a:pt x="43" y="379"/>
                  </a:lnTo>
                  <a:lnTo>
                    <a:pt x="55" y="353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87" y="303"/>
                  </a:lnTo>
                  <a:lnTo>
                    <a:pt x="104" y="279"/>
                  </a:lnTo>
                  <a:lnTo>
                    <a:pt x="125" y="255"/>
                  </a:lnTo>
                  <a:lnTo>
                    <a:pt x="145" y="233"/>
                  </a:lnTo>
                  <a:lnTo>
                    <a:pt x="169" y="212"/>
                  </a:lnTo>
                  <a:lnTo>
                    <a:pt x="193" y="192"/>
                  </a:lnTo>
                  <a:lnTo>
                    <a:pt x="219" y="171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76" y="135"/>
                  </a:lnTo>
                  <a:lnTo>
                    <a:pt x="305" y="118"/>
                  </a:lnTo>
                  <a:lnTo>
                    <a:pt x="335" y="103"/>
                  </a:lnTo>
                  <a:lnTo>
                    <a:pt x="368" y="89"/>
                  </a:lnTo>
                  <a:lnTo>
                    <a:pt x="402" y="75"/>
                  </a:lnTo>
                  <a:lnTo>
                    <a:pt x="437" y="61"/>
                  </a:lnTo>
                  <a:lnTo>
                    <a:pt x="473" y="51"/>
                  </a:lnTo>
                  <a:lnTo>
                    <a:pt x="508" y="39"/>
                  </a:lnTo>
                  <a:lnTo>
                    <a:pt x="546" y="31"/>
                  </a:lnTo>
                  <a:lnTo>
                    <a:pt x="584" y="22"/>
                  </a:lnTo>
                  <a:lnTo>
                    <a:pt x="623" y="15"/>
                  </a:lnTo>
                  <a:lnTo>
                    <a:pt x="663" y="10"/>
                  </a:lnTo>
                  <a:lnTo>
                    <a:pt x="704" y="5"/>
                  </a:lnTo>
                  <a:lnTo>
                    <a:pt x="745" y="1"/>
                  </a:lnTo>
                  <a:lnTo>
                    <a:pt x="788" y="0"/>
                  </a:lnTo>
                  <a:lnTo>
                    <a:pt x="829" y="0"/>
                  </a:lnTo>
                  <a:lnTo>
                    <a:pt x="829" y="0"/>
                  </a:lnTo>
                  <a:lnTo>
                    <a:pt x="892" y="1"/>
                  </a:lnTo>
                  <a:lnTo>
                    <a:pt x="956" y="5"/>
                  </a:lnTo>
                  <a:lnTo>
                    <a:pt x="1016" y="13"/>
                  </a:lnTo>
                  <a:lnTo>
                    <a:pt x="1074" y="22"/>
                  </a:lnTo>
                  <a:lnTo>
                    <a:pt x="1132" y="36"/>
                  </a:lnTo>
                  <a:lnTo>
                    <a:pt x="1187" y="51"/>
                  </a:lnTo>
                  <a:lnTo>
                    <a:pt x="1240" y="68"/>
                  </a:lnTo>
                  <a:lnTo>
                    <a:pt x="1290" y="89"/>
                  </a:lnTo>
                  <a:lnTo>
                    <a:pt x="1290" y="89"/>
                  </a:lnTo>
                  <a:lnTo>
                    <a:pt x="1338" y="111"/>
                  </a:lnTo>
                  <a:lnTo>
                    <a:pt x="1384" y="135"/>
                  </a:lnTo>
                  <a:lnTo>
                    <a:pt x="1427" y="163"/>
                  </a:lnTo>
                  <a:lnTo>
                    <a:pt x="1466" y="192"/>
                  </a:lnTo>
                  <a:lnTo>
                    <a:pt x="1502" y="223"/>
                  </a:lnTo>
                  <a:lnTo>
                    <a:pt x="1535" y="255"/>
                  </a:lnTo>
                  <a:lnTo>
                    <a:pt x="1564" y="291"/>
                  </a:lnTo>
                  <a:lnTo>
                    <a:pt x="1577" y="308"/>
                  </a:lnTo>
                  <a:lnTo>
                    <a:pt x="1589" y="327"/>
                  </a:lnTo>
                  <a:lnTo>
                    <a:pt x="1589" y="327"/>
                  </a:lnTo>
                  <a:lnTo>
                    <a:pt x="1603" y="353"/>
                  </a:lnTo>
                  <a:lnTo>
                    <a:pt x="1617" y="379"/>
                  </a:lnTo>
                  <a:lnTo>
                    <a:pt x="1627" y="406"/>
                  </a:lnTo>
                  <a:lnTo>
                    <a:pt x="1637" y="433"/>
                  </a:lnTo>
                  <a:lnTo>
                    <a:pt x="1644" y="462"/>
                  </a:lnTo>
                  <a:lnTo>
                    <a:pt x="1649" y="490"/>
                  </a:lnTo>
                  <a:lnTo>
                    <a:pt x="1653" y="521"/>
                  </a:lnTo>
                  <a:lnTo>
                    <a:pt x="1653" y="550"/>
                  </a:lnTo>
                  <a:lnTo>
                    <a:pt x="1653" y="552"/>
                  </a:lnTo>
                  <a:lnTo>
                    <a:pt x="1653" y="552"/>
                  </a:lnTo>
                  <a:lnTo>
                    <a:pt x="1158" y="552"/>
                  </a:lnTo>
                  <a:lnTo>
                    <a:pt x="5" y="550"/>
                  </a:lnTo>
                  <a:lnTo>
                    <a:pt x="5" y="552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5" y="550"/>
                  </a:lnTo>
                  <a:close/>
                  <a:moveTo>
                    <a:pt x="1161" y="639"/>
                  </a:moveTo>
                  <a:lnTo>
                    <a:pt x="1480" y="639"/>
                  </a:lnTo>
                  <a:lnTo>
                    <a:pt x="1473" y="648"/>
                  </a:lnTo>
                  <a:lnTo>
                    <a:pt x="1473" y="648"/>
                  </a:lnTo>
                  <a:lnTo>
                    <a:pt x="1470" y="653"/>
                  </a:lnTo>
                  <a:lnTo>
                    <a:pt x="1468" y="654"/>
                  </a:lnTo>
                  <a:lnTo>
                    <a:pt x="1468" y="654"/>
                  </a:lnTo>
                  <a:lnTo>
                    <a:pt x="1442" y="682"/>
                  </a:lnTo>
                  <a:lnTo>
                    <a:pt x="1416" y="709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06" y="720"/>
                  </a:lnTo>
                  <a:lnTo>
                    <a:pt x="1406" y="720"/>
                  </a:lnTo>
                  <a:lnTo>
                    <a:pt x="1380" y="744"/>
                  </a:lnTo>
                  <a:lnTo>
                    <a:pt x="1353" y="766"/>
                  </a:lnTo>
                  <a:lnTo>
                    <a:pt x="1322" y="788"/>
                  </a:lnTo>
                  <a:lnTo>
                    <a:pt x="1290" y="809"/>
                  </a:lnTo>
                  <a:lnTo>
                    <a:pt x="1255" y="826"/>
                  </a:lnTo>
                  <a:lnTo>
                    <a:pt x="1237" y="833"/>
                  </a:lnTo>
                  <a:lnTo>
                    <a:pt x="1218" y="840"/>
                  </a:lnTo>
                  <a:lnTo>
                    <a:pt x="1199" y="845"/>
                  </a:lnTo>
                  <a:lnTo>
                    <a:pt x="1180" y="848"/>
                  </a:lnTo>
                  <a:lnTo>
                    <a:pt x="116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20" y="852"/>
                  </a:lnTo>
                  <a:lnTo>
                    <a:pt x="1098" y="850"/>
                  </a:lnTo>
                  <a:lnTo>
                    <a:pt x="1076" y="845"/>
                  </a:lnTo>
                  <a:lnTo>
                    <a:pt x="1050" y="840"/>
                  </a:lnTo>
                  <a:lnTo>
                    <a:pt x="993" y="826"/>
                  </a:lnTo>
                  <a:lnTo>
                    <a:pt x="930" y="805"/>
                  </a:lnTo>
                  <a:lnTo>
                    <a:pt x="930" y="805"/>
                  </a:lnTo>
                  <a:lnTo>
                    <a:pt x="872" y="785"/>
                  </a:lnTo>
                  <a:lnTo>
                    <a:pt x="805" y="759"/>
                  </a:lnTo>
                  <a:lnTo>
                    <a:pt x="789" y="752"/>
                  </a:lnTo>
                  <a:lnTo>
                    <a:pt x="1161" y="639"/>
                  </a:lnTo>
                  <a:close/>
                  <a:moveTo>
                    <a:pt x="298" y="807"/>
                  </a:moveTo>
                  <a:lnTo>
                    <a:pt x="147" y="639"/>
                  </a:lnTo>
                  <a:lnTo>
                    <a:pt x="853" y="639"/>
                  </a:lnTo>
                  <a:lnTo>
                    <a:pt x="853" y="639"/>
                  </a:lnTo>
                  <a:lnTo>
                    <a:pt x="298" y="807"/>
                  </a:lnTo>
                  <a:close/>
                  <a:moveTo>
                    <a:pt x="1653" y="1109"/>
                  </a:moveTo>
                  <a:lnTo>
                    <a:pt x="1653" y="1109"/>
                  </a:lnTo>
                  <a:lnTo>
                    <a:pt x="1651" y="1143"/>
                  </a:lnTo>
                  <a:lnTo>
                    <a:pt x="1648" y="1177"/>
                  </a:lnTo>
                  <a:lnTo>
                    <a:pt x="1641" y="1210"/>
                  </a:lnTo>
                  <a:lnTo>
                    <a:pt x="1631" y="1242"/>
                  </a:lnTo>
                  <a:lnTo>
                    <a:pt x="1619" y="1271"/>
                  </a:lnTo>
                  <a:lnTo>
                    <a:pt x="1605" y="1301"/>
                  </a:lnTo>
                  <a:lnTo>
                    <a:pt x="1588" y="1326"/>
                  </a:lnTo>
                  <a:lnTo>
                    <a:pt x="1569" y="1352"/>
                  </a:lnTo>
                  <a:lnTo>
                    <a:pt x="1548" y="1374"/>
                  </a:lnTo>
                  <a:lnTo>
                    <a:pt x="1526" y="1393"/>
                  </a:lnTo>
                  <a:lnTo>
                    <a:pt x="1502" y="1410"/>
                  </a:lnTo>
                  <a:lnTo>
                    <a:pt x="1478" y="1426"/>
                  </a:lnTo>
                  <a:lnTo>
                    <a:pt x="1451" y="1436"/>
                  </a:lnTo>
                  <a:lnTo>
                    <a:pt x="1423" y="1445"/>
                  </a:lnTo>
                  <a:lnTo>
                    <a:pt x="1394" y="1450"/>
                  </a:lnTo>
                  <a:lnTo>
                    <a:pt x="1365" y="1451"/>
                  </a:lnTo>
                  <a:lnTo>
                    <a:pt x="293" y="1451"/>
                  </a:lnTo>
                  <a:lnTo>
                    <a:pt x="293" y="1451"/>
                  </a:lnTo>
                  <a:lnTo>
                    <a:pt x="264" y="1450"/>
                  </a:lnTo>
                  <a:lnTo>
                    <a:pt x="234" y="1445"/>
                  </a:lnTo>
                  <a:lnTo>
                    <a:pt x="207" y="1436"/>
                  </a:lnTo>
                  <a:lnTo>
                    <a:pt x="181" y="1426"/>
                  </a:lnTo>
                  <a:lnTo>
                    <a:pt x="156" y="1410"/>
                  </a:lnTo>
                  <a:lnTo>
                    <a:pt x="132" y="1393"/>
                  </a:lnTo>
                  <a:lnTo>
                    <a:pt x="109" y="1374"/>
                  </a:lnTo>
                  <a:lnTo>
                    <a:pt x="90" y="1352"/>
                  </a:lnTo>
                  <a:lnTo>
                    <a:pt x="72" y="1326"/>
                  </a:lnTo>
                  <a:lnTo>
                    <a:pt x="55" y="1301"/>
                  </a:lnTo>
                  <a:lnTo>
                    <a:pt x="41" y="1271"/>
                  </a:lnTo>
                  <a:lnTo>
                    <a:pt x="29" y="1242"/>
                  </a:lnTo>
                  <a:lnTo>
                    <a:pt x="19" y="1210"/>
                  </a:lnTo>
                  <a:lnTo>
                    <a:pt x="12" y="1177"/>
                  </a:lnTo>
                  <a:lnTo>
                    <a:pt x="7" y="1143"/>
                  </a:lnTo>
                  <a:lnTo>
                    <a:pt x="5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close/>
                  <a:moveTo>
                    <a:pt x="1526" y="1020"/>
                  </a:moveTo>
                  <a:lnTo>
                    <a:pt x="133" y="1020"/>
                  </a:lnTo>
                  <a:lnTo>
                    <a:pt x="133" y="1020"/>
                  </a:lnTo>
                  <a:lnTo>
                    <a:pt x="120" y="1018"/>
                  </a:lnTo>
                  <a:lnTo>
                    <a:pt x="106" y="1016"/>
                  </a:lnTo>
                  <a:lnTo>
                    <a:pt x="94" y="1013"/>
                  </a:lnTo>
                  <a:lnTo>
                    <a:pt x="82" y="1008"/>
                  </a:lnTo>
                  <a:lnTo>
                    <a:pt x="70" y="1001"/>
                  </a:lnTo>
                  <a:lnTo>
                    <a:pt x="60" y="992"/>
                  </a:lnTo>
                  <a:lnTo>
                    <a:pt x="49" y="984"/>
                  </a:lnTo>
                  <a:lnTo>
                    <a:pt x="39" y="973"/>
                  </a:lnTo>
                  <a:lnTo>
                    <a:pt x="31" y="961"/>
                  </a:lnTo>
                  <a:lnTo>
                    <a:pt x="24" y="949"/>
                  </a:lnTo>
                  <a:lnTo>
                    <a:pt x="17" y="937"/>
                  </a:lnTo>
                  <a:lnTo>
                    <a:pt x="10" y="924"/>
                  </a:lnTo>
                  <a:lnTo>
                    <a:pt x="7" y="908"/>
                  </a:lnTo>
                  <a:lnTo>
                    <a:pt x="3" y="893"/>
                  </a:lnTo>
                  <a:lnTo>
                    <a:pt x="1" y="877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1" y="834"/>
                  </a:lnTo>
                  <a:lnTo>
                    <a:pt x="7" y="810"/>
                  </a:lnTo>
                  <a:lnTo>
                    <a:pt x="15" y="788"/>
                  </a:lnTo>
                  <a:lnTo>
                    <a:pt x="25" y="768"/>
                  </a:lnTo>
                  <a:lnTo>
                    <a:pt x="39" y="749"/>
                  </a:lnTo>
                  <a:lnTo>
                    <a:pt x="55" y="732"/>
                  </a:lnTo>
                  <a:lnTo>
                    <a:pt x="72" y="720"/>
                  </a:lnTo>
                  <a:lnTo>
                    <a:pt x="90" y="709"/>
                  </a:lnTo>
                  <a:lnTo>
                    <a:pt x="270" y="910"/>
                  </a:lnTo>
                  <a:lnTo>
                    <a:pt x="649" y="795"/>
                  </a:lnTo>
                  <a:lnTo>
                    <a:pt x="649" y="795"/>
                  </a:lnTo>
                  <a:lnTo>
                    <a:pt x="776" y="848"/>
                  </a:lnTo>
                  <a:lnTo>
                    <a:pt x="776" y="848"/>
                  </a:lnTo>
                  <a:lnTo>
                    <a:pt x="875" y="886"/>
                  </a:lnTo>
                  <a:lnTo>
                    <a:pt x="925" y="903"/>
                  </a:lnTo>
                  <a:lnTo>
                    <a:pt x="971" y="918"/>
                  </a:lnTo>
                  <a:lnTo>
                    <a:pt x="1017" y="930"/>
                  </a:lnTo>
                  <a:lnTo>
                    <a:pt x="1060" y="939"/>
                  </a:lnTo>
                  <a:lnTo>
                    <a:pt x="1101" y="946"/>
                  </a:lnTo>
                  <a:lnTo>
                    <a:pt x="1141" y="948"/>
                  </a:lnTo>
                  <a:lnTo>
                    <a:pt x="1141" y="948"/>
                  </a:lnTo>
                  <a:lnTo>
                    <a:pt x="1165" y="948"/>
                  </a:lnTo>
                  <a:lnTo>
                    <a:pt x="1189" y="944"/>
                  </a:lnTo>
                  <a:lnTo>
                    <a:pt x="1213" y="939"/>
                  </a:lnTo>
                  <a:lnTo>
                    <a:pt x="1237" y="932"/>
                  </a:lnTo>
                  <a:lnTo>
                    <a:pt x="1259" y="925"/>
                  </a:lnTo>
                  <a:lnTo>
                    <a:pt x="1281" y="917"/>
                  </a:lnTo>
                  <a:lnTo>
                    <a:pt x="1303" y="906"/>
                  </a:lnTo>
                  <a:lnTo>
                    <a:pt x="1324" y="894"/>
                  </a:lnTo>
                  <a:lnTo>
                    <a:pt x="1344" y="882"/>
                  </a:lnTo>
                  <a:lnTo>
                    <a:pt x="1365" y="869"/>
                  </a:lnTo>
                  <a:lnTo>
                    <a:pt x="1403" y="841"/>
                  </a:lnTo>
                  <a:lnTo>
                    <a:pt x="1437" y="810"/>
                  </a:lnTo>
                  <a:lnTo>
                    <a:pt x="1470" y="781"/>
                  </a:lnTo>
                  <a:lnTo>
                    <a:pt x="1470" y="781"/>
                  </a:lnTo>
                  <a:lnTo>
                    <a:pt x="1507" y="740"/>
                  </a:lnTo>
                  <a:lnTo>
                    <a:pt x="1540" y="701"/>
                  </a:lnTo>
                  <a:lnTo>
                    <a:pt x="1540" y="701"/>
                  </a:lnTo>
                  <a:lnTo>
                    <a:pt x="1552" y="704"/>
                  </a:lnTo>
                  <a:lnTo>
                    <a:pt x="1564" y="708"/>
                  </a:lnTo>
                  <a:lnTo>
                    <a:pt x="1576" y="713"/>
                  </a:lnTo>
                  <a:lnTo>
                    <a:pt x="1586" y="718"/>
                  </a:lnTo>
                  <a:lnTo>
                    <a:pt x="1596" y="725"/>
                  </a:lnTo>
                  <a:lnTo>
                    <a:pt x="1607" y="733"/>
                  </a:lnTo>
                  <a:lnTo>
                    <a:pt x="1615" y="742"/>
                  </a:lnTo>
                  <a:lnTo>
                    <a:pt x="1624" y="752"/>
                  </a:lnTo>
                  <a:lnTo>
                    <a:pt x="1632" y="764"/>
                  </a:lnTo>
                  <a:lnTo>
                    <a:pt x="1639" y="774"/>
                  </a:lnTo>
                  <a:lnTo>
                    <a:pt x="1644" y="788"/>
                  </a:lnTo>
                  <a:lnTo>
                    <a:pt x="1649" y="800"/>
                  </a:lnTo>
                  <a:lnTo>
                    <a:pt x="1653" y="814"/>
                  </a:lnTo>
                  <a:lnTo>
                    <a:pt x="1656" y="829"/>
                  </a:lnTo>
                  <a:lnTo>
                    <a:pt x="1658" y="843"/>
                  </a:lnTo>
                  <a:lnTo>
                    <a:pt x="1658" y="858"/>
                  </a:lnTo>
                  <a:lnTo>
                    <a:pt x="1658" y="858"/>
                  </a:lnTo>
                  <a:lnTo>
                    <a:pt x="1658" y="876"/>
                  </a:lnTo>
                  <a:lnTo>
                    <a:pt x="1656" y="891"/>
                  </a:lnTo>
                  <a:lnTo>
                    <a:pt x="1653" y="906"/>
                  </a:lnTo>
                  <a:lnTo>
                    <a:pt x="1648" y="922"/>
                  </a:lnTo>
                  <a:lnTo>
                    <a:pt x="1643" y="936"/>
                  </a:lnTo>
                  <a:lnTo>
                    <a:pt x="1636" y="948"/>
                  </a:lnTo>
                  <a:lnTo>
                    <a:pt x="1629" y="961"/>
                  </a:lnTo>
                  <a:lnTo>
                    <a:pt x="1620" y="972"/>
                  </a:lnTo>
                  <a:lnTo>
                    <a:pt x="1610" y="982"/>
                  </a:lnTo>
                  <a:lnTo>
                    <a:pt x="1600" y="992"/>
                  </a:lnTo>
                  <a:lnTo>
                    <a:pt x="1589" y="999"/>
                  </a:lnTo>
                  <a:lnTo>
                    <a:pt x="1577" y="1006"/>
                  </a:lnTo>
                  <a:lnTo>
                    <a:pt x="1565" y="1013"/>
                  </a:lnTo>
                  <a:lnTo>
                    <a:pt x="1552" y="1016"/>
                  </a:lnTo>
                  <a:lnTo>
                    <a:pt x="1540" y="1018"/>
                  </a:lnTo>
                  <a:lnTo>
                    <a:pt x="1526" y="1020"/>
                  </a:lnTo>
                  <a:close/>
                  <a:moveTo>
                    <a:pt x="303" y="295"/>
                  </a:moveTo>
                  <a:lnTo>
                    <a:pt x="303" y="295"/>
                  </a:lnTo>
                  <a:lnTo>
                    <a:pt x="315" y="293"/>
                  </a:lnTo>
                  <a:lnTo>
                    <a:pt x="327" y="289"/>
                  </a:lnTo>
                  <a:lnTo>
                    <a:pt x="337" y="284"/>
                  </a:lnTo>
                  <a:lnTo>
                    <a:pt x="346" y="277"/>
                  </a:lnTo>
                  <a:lnTo>
                    <a:pt x="353" y="269"/>
                  </a:lnTo>
                  <a:lnTo>
                    <a:pt x="358" y="259"/>
                  </a:lnTo>
                  <a:lnTo>
                    <a:pt x="361" y="248"/>
                  </a:lnTo>
                  <a:lnTo>
                    <a:pt x="363" y="236"/>
                  </a:lnTo>
                  <a:lnTo>
                    <a:pt x="363" y="236"/>
                  </a:lnTo>
                  <a:lnTo>
                    <a:pt x="361" y="224"/>
                  </a:lnTo>
                  <a:lnTo>
                    <a:pt x="358" y="214"/>
                  </a:lnTo>
                  <a:lnTo>
                    <a:pt x="353" y="204"/>
                  </a:lnTo>
                  <a:lnTo>
                    <a:pt x="346" y="195"/>
                  </a:lnTo>
                  <a:lnTo>
                    <a:pt x="337" y="188"/>
                  </a:lnTo>
                  <a:lnTo>
                    <a:pt x="327" y="183"/>
                  </a:lnTo>
                  <a:lnTo>
                    <a:pt x="315" y="180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291" y="180"/>
                  </a:lnTo>
                  <a:lnTo>
                    <a:pt x="281" y="183"/>
                  </a:lnTo>
                  <a:lnTo>
                    <a:pt x="270" y="188"/>
                  </a:lnTo>
                  <a:lnTo>
                    <a:pt x="262" y="195"/>
                  </a:lnTo>
                  <a:lnTo>
                    <a:pt x="255" y="204"/>
                  </a:lnTo>
                  <a:lnTo>
                    <a:pt x="250" y="214"/>
                  </a:lnTo>
                  <a:lnTo>
                    <a:pt x="246" y="22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6" y="248"/>
                  </a:lnTo>
                  <a:lnTo>
                    <a:pt x="250" y="259"/>
                  </a:lnTo>
                  <a:lnTo>
                    <a:pt x="255" y="269"/>
                  </a:lnTo>
                  <a:lnTo>
                    <a:pt x="262" y="277"/>
                  </a:lnTo>
                  <a:lnTo>
                    <a:pt x="270" y="284"/>
                  </a:lnTo>
                  <a:lnTo>
                    <a:pt x="281" y="289"/>
                  </a:lnTo>
                  <a:lnTo>
                    <a:pt x="291" y="293"/>
                  </a:lnTo>
                  <a:lnTo>
                    <a:pt x="303" y="295"/>
                  </a:lnTo>
                  <a:close/>
                  <a:moveTo>
                    <a:pt x="538" y="450"/>
                  </a:moveTo>
                  <a:lnTo>
                    <a:pt x="538" y="450"/>
                  </a:lnTo>
                  <a:lnTo>
                    <a:pt x="550" y="449"/>
                  </a:lnTo>
                  <a:lnTo>
                    <a:pt x="560" y="445"/>
                  </a:lnTo>
                  <a:lnTo>
                    <a:pt x="570" y="440"/>
                  </a:lnTo>
                  <a:lnTo>
                    <a:pt x="579" y="433"/>
                  </a:lnTo>
                  <a:lnTo>
                    <a:pt x="587" y="425"/>
                  </a:lnTo>
                  <a:lnTo>
                    <a:pt x="592" y="415"/>
                  </a:lnTo>
                  <a:lnTo>
                    <a:pt x="596" y="403"/>
                  </a:lnTo>
                  <a:lnTo>
                    <a:pt x="596" y="392"/>
                  </a:lnTo>
                  <a:lnTo>
                    <a:pt x="596" y="392"/>
                  </a:lnTo>
                  <a:lnTo>
                    <a:pt x="596" y="380"/>
                  </a:lnTo>
                  <a:lnTo>
                    <a:pt x="592" y="368"/>
                  </a:lnTo>
                  <a:lnTo>
                    <a:pt x="587" y="360"/>
                  </a:lnTo>
                  <a:lnTo>
                    <a:pt x="579" y="351"/>
                  </a:lnTo>
                  <a:lnTo>
                    <a:pt x="570" y="343"/>
                  </a:lnTo>
                  <a:lnTo>
                    <a:pt x="560" y="337"/>
                  </a:lnTo>
                  <a:lnTo>
                    <a:pt x="550" y="334"/>
                  </a:lnTo>
                  <a:lnTo>
                    <a:pt x="538" y="334"/>
                  </a:lnTo>
                  <a:lnTo>
                    <a:pt x="538" y="334"/>
                  </a:lnTo>
                  <a:lnTo>
                    <a:pt x="526" y="334"/>
                  </a:lnTo>
                  <a:lnTo>
                    <a:pt x="515" y="337"/>
                  </a:lnTo>
                  <a:lnTo>
                    <a:pt x="505" y="343"/>
                  </a:lnTo>
                  <a:lnTo>
                    <a:pt x="496" y="351"/>
                  </a:lnTo>
                  <a:lnTo>
                    <a:pt x="490" y="360"/>
                  </a:lnTo>
                  <a:lnTo>
                    <a:pt x="485" y="368"/>
                  </a:lnTo>
                  <a:lnTo>
                    <a:pt x="481" y="380"/>
                  </a:lnTo>
                  <a:lnTo>
                    <a:pt x="479" y="392"/>
                  </a:lnTo>
                  <a:lnTo>
                    <a:pt x="479" y="392"/>
                  </a:lnTo>
                  <a:lnTo>
                    <a:pt x="481" y="403"/>
                  </a:lnTo>
                  <a:lnTo>
                    <a:pt x="485" y="415"/>
                  </a:lnTo>
                  <a:lnTo>
                    <a:pt x="490" y="425"/>
                  </a:lnTo>
                  <a:lnTo>
                    <a:pt x="496" y="433"/>
                  </a:lnTo>
                  <a:lnTo>
                    <a:pt x="505" y="440"/>
                  </a:lnTo>
                  <a:lnTo>
                    <a:pt x="515" y="445"/>
                  </a:lnTo>
                  <a:lnTo>
                    <a:pt x="526" y="449"/>
                  </a:lnTo>
                  <a:lnTo>
                    <a:pt x="538" y="450"/>
                  </a:lnTo>
                  <a:close/>
                  <a:moveTo>
                    <a:pt x="582" y="192"/>
                  </a:moveTo>
                  <a:lnTo>
                    <a:pt x="582" y="192"/>
                  </a:lnTo>
                  <a:lnTo>
                    <a:pt x="594" y="190"/>
                  </a:lnTo>
                  <a:lnTo>
                    <a:pt x="604" y="187"/>
                  </a:lnTo>
                  <a:lnTo>
                    <a:pt x="615" y="181"/>
                  </a:lnTo>
                  <a:lnTo>
                    <a:pt x="623" y="175"/>
                  </a:lnTo>
                  <a:lnTo>
                    <a:pt x="632" y="166"/>
                  </a:lnTo>
                  <a:lnTo>
                    <a:pt x="637" y="156"/>
                  </a:lnTo>
                  <a:lnTo>
                    <a:pt x="640" y="144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21"/>
                  </a:lnTo>
                  <a:lnTo>
                    <a:pt x="637" y="109"/>
                  </a:lnTo>
                  <a:lnTo>
                    <a:pt x="632" y="101"/>
                  </a:lnTo>
                  <a:lnTo>
                    <a:pt x="623" y="92"/>
                  </a:lnTo>
                  <a:lnTo>
                    <a:pt x="615" y="84"/>
                  </a:lnTo>
                  <a:lnTo>
                    <a:pt x="604" y="79"/>
                  </a:lnTo>
                  <a:lnTo>
                    <a:pt x="594" y="75"/>
                  </a:lnTo>
                  <a:lnTo>
                    <a:pt x="582" y="75"/>
                  </a:lnTo>
                  <a:lnTo>
                    <a:pt x="582" y="75"/>
                  </a:lnTo>
                  <a:lnTo>
                    <a:pt x="570" y="75"/>
                  </a:lnTo>
                  <a:lnTo>
                    <a:pt x="560" y="79"/>
                  </a:lnTo>
                  <a:lnTo>
                    <a:pt x="550" y="84"/>
                  </a:lnTo>
                  <a:lnTo>
                    <a:pt x="541" y="92"/>
                  </a:lnTo>
                  <a:lnTo>
                    <a:pt x="534" y="101"/>
                  </a:lnTo>
                  <a:lnTo>
                    <a:pt x="529" y="109"/>
                  </a:lnTo>
                  <a:lnTo>
                    <a:pt x="526" y="121"/>
                  </a:lnTo>
                  <a:lnTo>
                    <a:pt x="524" y="133"/>
                  </a:lnTo>
                  <a:lnTo>
                    <a:pt x="524" y="133"/>
                  </a:lnTo>
                  <a:lnTo>
                    <a:pt x="526" y="144"/>
                  </a:lnTo>
                  <a:lnTo>
                    <a:pt x="529" y="156"/>
                  </a:lnTo>
                  <a:lnTo>
                    <a:pt x="534" y="166"/>
                  </a:lnTo>
                  <a:lnTo>
                    <a:pt x="541" y="175"/>
                  </a:lnTo>
                  <a:lnTo>
                    <a:pt x="550" y="181"/>
                  </a:lnTo>
                  <a:lnTo>
                    <a:pt x="560" y="187"/>
                  </a:lnTo>
                  <a:lnTo>
                    <a:pt x="570" y="190"/>
                  </a:lnTo>
                  <a:lnTo>
                    <a:pt x="582" y="192"/>
                  </a:lnTo>
                  <a:close/>
                  <a:moveTo>
                    <a:pt x="731" y="331"/>
                  </a:moveTo>
                  <a:lnTo>
                    <a:pt x="731" y="331"/>
                  </a:lnTo>
                  <a:lnTo>
                    <a:pt x="743" y="329"/>
                  </a:lnTo>
                  <a:lnTo>
                    <a:pt x="755" y="325"/>
                  </a:lnTo>
                  <a:lnTo>
                    <a:pt x="764" y="320"/>
                  </a:lnTo>
                  <a:lnTo>
                    <a:pt x="774" y="313"/>
                  </a:lnTo>
                  <a:lnTo>
                    <a:pt x="781" y="305"/>
                  </a:lnTo>
                  <a:lnTo>
                    <a:pt x="786" y="295"/>
                  </a:lnTo>
                  <a:lnTo>
                    <a:pt x="789" y="284"/>
                  </a:lnTo>
                  <a:lnTo>
                    <a:pt x="791" y="272"/>
                  </a:lnTo>
                  <a:lnTo>
                    <a:pt x="791" y="272"/>
                  </a:lnTo>
                  <a:lnTo>
                    <a:pt x="789" y="260"/>
                  </a:lnTo>
                  <a:lnTo>
                    <a:pt x="786" y="250"/>
                  </a:lnTo>
                  <a:lnTo>
                    <a:pt x="781" y="240"/>
                  </a:lnTo>
                  <a:lnTo>
                    <a:pt x="774" y="231"/>
                  </a:lnTo>
                  <a:lnTo>
                    <a:pt x="764" y="224"/>
                  </a:lnTo>
                  <a:lnTo>
                    <a:pt x="755" y="219"/>
                  </a:lnTo>
                  <a:lnTo>
                    <a:pt x="743" y="216"/>
                  </a:lnTo>
                  <a:lnTo>
                    <a:pt x="731" y="214"/>
                  </a:lnTo>
                  <a:lnTo>
                    <a:pt x="731" y="214"/>
                  </a:lnTo>
                  <a:lnTo>
                    <a:pt x="719" y="216"/>
                  </a:lnTo>
                  <a:lnTo>
                    <a:pt x="709" y="219"/>
                  </a:lnTo>
                  <a:lnTo>
                    <a:pt x="699" y="224"/>
                  </a:lnTo>
                  <a:lnTo>
                    <a:pt x="690" y="231"/>
                  </a:lnTo>
                  <a:lnTo>
                    <a:pt x="683" y="240"/>
                  </a:lnTo>
                  <a:lnTo>
                    <a:pt x="678" y="250"/>
                  </a:lnTo>
                  <a:lnTo>
                    <a:pt x="675" y="260"/>
                  </a:lnTo>
                  <a:lnTo>
                    <a:pt x="673" y="272"/>
                  </a:lnTo>
                  <a:lnTo>
                    <a:pt x="673" y="272"/>
                  </a:lnTo>
                  <a:lnTo>
                    <a:pt x="675" y="284"/>
                  </a:lnTo>
                  <a:lnTo>
                    <a:pt x="678" y="295"/>
                  </a:lnTo>
                  <a:lnTo>
                    <a:pt x="683" y="305"/>
                  </a:lnTo>
                  <a:lnTo>
                    <a:pt x="690" y="313"/>
                  </a:lnTo>
                  <a:lnTo>
                    <a:pt x="699" y="320"/>
                  </a:lnTo>
                  <a:lnTo>
                    <a:pt x="709" y="325"/>
                  </a:lnTo>
                  <a:lnTo>
                    <a:pt x="719" y="329"/>
                  </a:lnTo>
                  <a:lnTo>
                    <a:pt x="731" y="331"/>
                  </a:lnTo>
                  <a:close/>
                  <a:moveTo>
                    <a:pt x="923" y="351"/>
                  </a:moveTo>
                  <a:lnTo>
                    <a:pt x="923" y="351"/>
                  </a:lnTo>
                  <a:lnTo>
                    <a:pt x="911" y="353"/>
                  </a:lnTo>
                  <a:lnTo>
                    <a:pt x="901" y="356"/>
                  </a:lnTo>
                  <a:lnTo>
                    <a:pt x="891" y="361"/>
                  </a:lnTo>
                  <a:lnTo>
                    <a:pt x="882" y="368"/>
                  </a:lnTo>
                  <a:lnTo>
                    <a:pt x="875" y="377"/>
                  </a:lnTo>
                  <a:lnTo>
                    <a:pt x="868" y="387"/>
                  </a:lnTo>
                  <a:lnTo>
                    <a:pt x="865" y="397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5" y="421"/>
                  </a:lnTo>
                  <a:lnTo>
                    <a:pt x="868" y="432"/>
                  </a:lnTo>
                  <a:lnTo>
                    <a:pt x="875" y="442"/>
                  </a:lnTo>
                  <a:lnTo>
                    <a:pt x="882" y="450"/>
                  </a:lnTo>
                  <a:lnTo>
                    <a:pt x="891" y="457"/>
                  </a:lnTo>
                  <a:lnTo>
                    <a:pt x="901" y="462"/>
                  </a:lnTo>
                  <a:lnTo>
                    <a:pt x="911" y="466"/>
                  </a:lnTo>
                  <a:lnTo>
                    <a:pt x="923" y="468"/>
                  </a:lnTo>
                  <a:lnTo>
                    <a:pt x="923" y="468"/>
                  </a:lnTo>
                  <a:lnTo>
                    <a:pt x="935" y="466"/>
                  </a:lnTo>
                  <a:lnTo>
                    <a:pt x="945" y="462"/>
                  </a:lnTo>
                  <a:lnTo>
                    <a:pt x="956" y="457"/>
                  </a:lnTo>
                  <a:lnTo>
                    <a:pt x="964" y="450"/>
                  </a:lnTo>
                  <a:lnTo>
                    <a:pt x="971" y="442"/>
                  </a:lnTo>
                  <a:lnTo>
                    <a:pt x="978" y="432"/>
                  </a:lnTo>
                  <a:lnTo>
                    <a:pt x="981" y="421"/>
                  </a:lnTo>
                  <a:lnTo>
                    <a:pt x="981" y="409"/>
                  </a:lnTo>
                  <a:lnTo>
                    <a:pt x="981" y="409"/>
                  </a:lnTo>
                  <a:lnTo>
                    <a:pt x="981" y="397"/>
                  </a:lnTo>
                  <a:lnTo>
                    <a:pt x="978" y="387"/>
                  </a:lnTo>
                  <a:lnTo>
                    <a:pt x="971" y="377"/>
                  </a:lnTo>
                  <a:lnTo>
                    <a:pt x="964" y="368"/>
                  </a:lnTo>
                  <a:lnTo>
                    <a:pt x="956" y="361"/>
                  </a:lnTo>
                  <a:lnTo>
                    <a:pt x="945" y="356"/>
                  </a:lnTo>
                  <a:lnTo>
                    <a:pt x="935" y="353"/>
                  </a:lnTo>
                  <a:lnTo>
                    <a:pt x="923" y="351"/>
                  </a:lnTo>
                  <a:close/>
                  <a:moveTo>
                    <a:pt x="897" y="157"/>
                  </a:moveTo>
                  <a:lnTo>
                    <a:pt x="897" y="157"/>
                  </a:lnTo>
                  <a:lnTo>
                    <a:pt x="909" y="157"/>
                  </a:lnTo>
                  <a:lnTo>
                    <a:pt x="920" y="154"/>
                  </a:lnTo>
                  <a:lnTo>
                    <a:pt x="930" y="147"/>
                  </a:lnTo>
                  <a:lnTo>
                    <a:pt x="938" y="140"/>
                  </a:lnTo>
                  <a:lnTo>
                    <a:pt x="945" y="132"/>
                  </a:lnTo>
                  <a:lnTo>
                    <a:pt x="950" y="121"/>
                  </a:lnTo>
                  <a:lnTo>
                    <a:pt x="954" y="111"/>
                  </a:lnTo>
                  <a:lnTo>
                    <a:pt x="956" y="99"/>
                  </a:lnTo>
                  <a:lnTo>
                    <a:pt x="956" y="99"/>
                  </a:lnTo>
                  <a:lnTo>
                    <a:pt x="954" y="87"/>
                  </a:lnTo>
                  <a:lnTo>
                    <a:pt x="950" y="77"/>
                  </a:lnTo>
                  <a:lnTo>
                    <a:pt x="945" y="67"/>
                  </a:lnTo>
                  <a:lnTo>
                    <a:pt x="938" y="58"/>
                  </a:lnTo>
                  <a:lnTo>
                    <a:pt x="930" y="51"/>
                  </a:lnTo>
                  <a:lnTo>
                    <a:pt x="920" y="46"/>
                  </a:lnTo>
                  <a:lnTo>
                    <a:pt x="909" y="43"/>
                  </a:lnTo>
                  <a:lnTo>
                    <a:pt x="897" y="41"/>
                  </a:lnTo>
                  <a:lnTo>
                    <a:pt x="897" y="41"/>
                  </a:lnTo>
                  <a:lnTo>
                    <a:pt x="885" y="43"/>
                  </a:lnTo>
                  <a:lnTo>
                    <a:pt x="873" y="46"/>
                  </a:lnTo>
                  <a:lnTo>
                    <a:pt x="865" y="51"/>
                  </a:lnTo>
                  <a:lnTo>
                    <a:pt x="855" y="58"/>
                  </a:lnTo>
                  <a:lnTo>
                    <a:pt x="848" y="67"/>
                  </a:lnTo>
                  <a:lnTo>
                    <a:pt x="843" y="77"/>
                  </a:lnTo>
                  <a:lnTo>
                    <a:pt x="839" y="87"/>
                  </a:lnTo>
                  <a:lnTo>
                    <a:pt x="837" y="99"/>
                  </a:lnTo>
                  <a:lnTo>
                    <a:pt x="837" y="99"/>
                  </a:lnTo>
                  <a:lnTo>
                    <a:pt x="839" y="111"/>
                  </a:lnTo>
                  <a:lnTo>
                    <a:pt x="843" y="121"/>
                  </a:lnTo>
                  <a:lnTo>
                    <a:pt x="848" y="132"/>
                  </a:lnTo>
                  <a:lnTo>
                    <a:pt x="855" y="140"/>
                  </a:lnTo>
                  <a:lnTo>
                    <a:pt x="865" y="147"/>
                  </a:lnTo>
                  <a:lnTo>
                    <a:pt x="873" y="154"/>
                  </a:lnTo>
                  <a:lnTo>
                    <a:pt x="885" y="157"/>
                  </a:lnTo>
                  <a:lnTo>
                    <a:pt x="897" y="157"/>
                  </a:lnTo>
                  <a:close/>
                  <a:moveTo>
                    <a:pt x="1016" y="312"/>
                  </a:moveTo>
                  <a:lnTo>
                    <a:pt x="1016" y="312"/>
                  </a:lnTo>
                  <a:lnTo>
                    <a:pt x="1028" y="312"/>
                  </a:lnTo>
                  <a:lnTo>
                    <a:pt x="1040" y="308"/>
                  </a:lnTo>
                  <a:lnTo>
                    <a:pt x="1048" y="303"/>
                  </a:lnTo>
                  <a:lnTo>
                    <a:pt x="1057" y="296"/>
                  </a:lnTo>
                  <a:lnTo>
                    <a:pt x="1065" y="286"/>
                  </a:lnTo>
                  <a:lnTo>
                    <a:pt x="1070" y="277"/>
                  </a:lnTo>
                  <a:lnTo>
                    <a:pt x="1074" y="265"/>
                  </a:lnTo>
                  <a:lnTo>
                    <a:pt x="1074" y="253"/>
                  </a:lnTo>
                  <a:lnTo>
                    <a:pt x="1074" y="253"/>
                  </a:lnTo>
                  <a:lnTo>
                    <a:pt x="1074" y="243"/>
                  </a:lnTo>
                  <a:lnTo>
                    <a:pt x="1070" y="231"/>
                  </a:lnTo>
                  <a:lnTo>
                    <a:pt x="1065" y="221"/>
                  </a:lnTo>
                  <a:lnTo>
                    <a:pt x="1057" y="212"/>
                  </a:lnTo>
                  <a:lnTo>
                    <a:pt x="1048" y="205"/>
                  </a:lnTo>
                  <a:lnTo>
                    <a:pt x="1040" y="200"/>
                  </a:lnTo>
                  <a:lnTo>
                    <a:pt x="1028" y="197"/>
                  </a:lnTo>
                  <a:lnTo>
                    <a:pt x="1016" y="195"/>
                  </a:lnTo>
                  <a:lnTo>
                    <a:pt x="1016" y="195"/>
                  </a:lnTo>
                  <a:lnTo>
                    <a:pt x="1004" y="197"/>
                  </a:lnTo>
                  <a:lnTo>
                    <a:pt x="993" y="200"/>
                  </a:lnTo>
                  <a:lnTo>
                    <a:pt x="983" y="205"/>
                  </a:lnTo>
                  <a:lnTo>
                    <a:pt x="974" y="212"/>
                  </a:lnTo>
                  <a:lnTo>
                    <a:pt x="968" y="221"/>
                  </a:lnTo>
                  <a:lnTo>
                    <a:pt x="962" y="231"/>
                  </a:lnTo>
                  <a:lnTo>
                    <a:pt x="959" y="243"/>
                  </a:lnTo>
                  <a:lnTo>
                    <a:pt x="957" y="253"/>
                  </a:lnTo>
                  <a:lnTo>
                    <a:pt x="957" y="253"/>
                  </a:lnTo>
                  <a:lnTo>
                    <a:pt x="959" y="265"/>
                  </a:lnTo>
                  <a:lnTo>
                    <a:pt x="962" y="277"/>
                  </a:lnTo>
                  <a:lnTo>
                    <a:pt x="968" y="286"/>
                  </a:lnTo>
                  <a:lnTo>
                    <a:pt x="974" y="296"/>
                  </a:lnTo>
                  <a:lnTo>
                    <a:pt x="983" y="303"/>
                  </a:lnTo>
                  <a:lnTo>
                    <a:pt x="993" y="308"/>
                  </a:lnTo>
                  <a:lnTo>
                    <a:pt x="1004" y="312"/>
                  </a:lnTo>
                  <a:lnTo>
                    <a:pt x="1016" y="312"/>
                  </a:lnTo>
                  <a:close/>
                  <a:moveTo>
                    <a:pt x="1173" y="226"/>
                  </a:moveTo>
                  <a:lnTo>
                    <a:pt x="1173" y="226"/>
                  </a:lnTo>
                  <a:lnTo>
                    <a:pt x="1185" y="224"/>
                  </a:lnTo>
                  <a:lnTo>
                    <a:pt x="1195" y="221"/>
                  </a:lnTo>
                  <a:lnTo>
                    <a:pt x="1206" y="216"/>
                  </a:lnTo>
                  <a:lnTo>
                    <a:pt x="1214" y="209"/>
                  </a:lnTo>
                  <a:lnTo>
                    <a:pt x="1221" y="200"/>
                  </a:lnTo>
                  <a:lnTo>
                    <a:pt x="1226" y="190"/>
                  </a:lnTo>
                  <a:lnTo>
                    <a:pt x="1230" y="180"/>
                  </a:lnTo>
                  <a:lnTo>
                    <a:pt x="1231" y="168"/>
                  </a:lnTo>
                  <a:lnTo>
                    <a:pt x="1231" y="168"/>
                  </a:lnTo>
                  <a:lnTo>
                    <a:pt x="1230" y="156"/>
                  </a:lnTo>
                  <a:lnTo>
                    <a:pt x="1226" y="145"/>
                  </a:lnTo>
                  <a:lnTo>
                    <a:pt x="1221" y="135"/>
                  </a:lnTo>
                  <a:lnTo>
                    <a:pt x="1214" y="127"/>
                  </a:lnTo>
                  <a:lnTo>
                    <a:pt x="1206" y="120"/>
                  </a:lnTo>
                  <a:lnTo>
                    <a:pt x="1195" y="115"/>
                  </a:lnTo>
                  <a:lnTo>
                    <a:pt x="1185" y="111"/>
                  </a:lnTo>
                  <a:lnTo>
                    <a:pt x="1173" y="109"/>
                  </a:lnTo>
                  <a:lnTo>
                    <a:pt x="1173" y="109"/>
                  </a:lnTo>
                  <a:lnTo>
                    <a:pt x="1161" y="111"/>
                  </a:lnTo>
                  <a:lnTo>
                    <a:pt x="1149" y="115"/>
                  </a:lnTo>
                  <a:lnTo>
                    <a:pt x="1141" y="120"/>
                  </a:lnTo>
                  <a:lnTo>
                    <a:pt x="1132" y="127"/>
                  </a:lnTo>
                  <a:lnTo>
                    <a:pt x="1124" y="135"/>
                  </a:lnTo>
                  <a:lnTo>
                    <a:pt x="1118" y="145"/>
                  </a:lnTo>
                  <a:lnTo>
                    <a:pt x="1115" y="156"/>
                  </a:lnTo>
                  <a:lnTo>
                    <a:pt x="1113" y="168"/>
                  </a:lnTo>
                  <a:lnTo>
                    <a:pt x="1113" y="168"/>
                  </a:lnTo>
                  <a:lnTo>
                    <a:pt x="1115" y="180"/>
                  </a:lnTo>
                  <a:lnTo>
                    <a:pt x="1118" y="190"/>
                  </a:lnTo>
                  <a:lnTo>
                    <a:pt x="1124" y="200"/>
                  </a:lnTo>
                  <a:lnTo>
                    <a:pt x="1132" y="209"/>
                  </a:lnTo>
                  <a:lnTo>
                    <a:pt x="1141" y="216"/>
                  </a:lnTo>
                  <a:lnTo>
                    <a:pt x="1149" y="221"/>
                  </a:lnTo>
                  <a:lnTo>
                    <a:pt x="1161" y="224"/>
                  </a:lnTo>
                  <a:lnTo>
                    <a:pt x="1173" y="226"/>
                  </a:lnTo>
                  <a:close/>
                  <a:moveTo>
                    <a:pt x="1398" y="343"/>
                  </a:moveTo>
                  <a:lnTo>
                    <a:pt x="1398" y="343"/>
                  </a:lnTo>
                  <a:lnTo>
                    <a:pt x="1410" y="341"/>
                  </a:lnTo>
                  <a:lnTo>
                    <a:pt x="1420" y="337"/>
                  </a:lnTo>
                  <a:lnTo>
                    <a:pt x="1430" y="332"/>
                  </a:lnTo>
                  <a:lnTo>
                    <a:pt x="1439" y="325"/>
                  </a:lnTo>
                  <a:lnTo>
                    <a:pt x="1446" y="317"/>
                  </a:lnTo>
                  <a:lnTo>
                    <a:pt x="1452" y="307"/>
                  </a:lnTo>
                  <a:lnTo>
                    <a:pt x="1456" y="296"/>
                  </a:lnTo>
                  <a:lnTo>
                    <a:pt x="1456" y="284"/>
                  </a:lnTo>
                  <a:lnTo>
                    <a:pt x="1456" y="284"/>
                  </a:lnTo>
                  <a:lnTo>
                    <a:pt x="1456" y="272"/>
                  </a:lnTo>
                  <a:lnTo>
                    <a:pt x="1452" y="262"/>
                  </a:lnTo>
                  <a:lnTo>
                    <a:pt x="1446" y="252"/>
                  </a:lnTo>
                  <a:lnTo>
                    <a:pt x="1439" y="243"/>
                  </a:lnTo>
                  <a:lnTo>
                    <a:pt x="1430" y="236"/>
                  </a:lnTo>
                  <a:lnTo>
                    <a:pt x="1420" y="231"/>
                  </a:lnTo>
                  <a:lnTo>
                    <a:pt x="1410" y="228"/>
                  </a:lnTo>
                  <a:lnTo>
                    <a:pt x="1398" y="226"/>
                  </a:lnTo>
                  <a:lnTo>
                    <a:pt x="1398" y="226"/>
                  </a:lnTo>
                  <a:lnTo>
                    <a:pt x="1386" y="228"/>
                  </a:lnTo>
                  <a:lnTo>
                    <a:pt x="1375" y="231"/>
                  </a:lnTo>
                  <a:lnTo>
                    <a:pt x="1365" y="236"/>
                  </a:lnTo>
                  <a:lnTo>
                    <a:pt x="1356" y="243"/>
                  </a:lnTo>
                  <a:lnTo>
                    <a:pt x="1350" y="252"/>
                  </a:lnTo>
                  <a:lnTo>
                    <a:pt x="1344" y="262"/>
                  </a:lnTo>
                  <a:lnTo>
                    <a:pt x="1341" y="272"/>
                  </a:lnTo>
                  <a:lnTo>
                    <a:pt x="1339" y="284"/>
                  </a:lnTo>
                  <a:lnTo>
                    <a:pt x="1339" y="284"/>
                  </a:lnTo>
                  <a:lnTo>
                    <a:pt x="1341" y="296"/>
                  </a:lnTo>
                  <a:lnTo>
                    <a:pt x="1344" y="307"/>
                  </a:lnTo>
                  <a:lnTo>
                    <a:pt x="1350" y="317"/>
                  </a:lnTo>
                  <a:lnTo>
                    <a:pt x="1356" y="325"/>
                  </a:lnTo>
                  <a:lnTo>
                    <a:pt x="1365" y="332"/>
                  </a:lnTo>
                  <a:lnTo>
                    <a:pt x="1375" y="337"/>
                  </a:lnTo>
                  <a:lnTo>
                    <a:pt x="1386" y="341"/>
                  </a:lnTo>
                  <a:lnTo>
                    <a:pt x="1398" y="343"/>
                  </a:lnTo>
                  <a:close/>
                  <a:moveTo>
                    <a:pt x="1173" y="425"/>
                  </a:moveTo>
                  <a:lnTo>
                    <a:pt x="1173" y="425"/>
                  </a:lnTo>
                  <a:lnTo>
                    <a:pt x="1175" y="437"/>
                  </a:lnTo>
                  <a:lnTo>
                    <a:pt x="1178" y="447"/>
                  </a:lnTo>
                  <a:lnTo>
                    <a:pt x="1183" y="457"/>
                  </a:lnTo>
                  <a:lnTo>
                    <a:pt x="1190" y="466"/>
                  </a:lnTo>
                  <a:lnTo>
                    <a:pt x="1199" y="473"/>
                  </a:lnTo>
                  <a:lnTo>
                    <a:pt x="1209" y="480"/>
                  </a:lnTo>
                  <a:lnTo>
                    <a:pt x="1221" y="483"/>
                  </a:lnTo>
                  <a:lnTo>
                    <a:pt x="1233" y="483"/>
                  </a:lnTo>
                  <a:lnTo>
                    <a:pt x="1233" y="483"/>
                  </a:lnTo>
                  <a:lnTo>
                    <a:pt x="1243" y="483"/>
                  </a:lnTo>
                  <a:lnTo>
                    <a:pt x="1255" y="480"/>
                  </a:lnTo>
                  <a:lnTo>
                    <a:pt x="1266" y="473"/>
                  </a:lnTo>
                  <a:lnTo>
                    <a:pt x="1274" y="466"/>
                  </a:lnTo>
                  <a:lnTo>
                    <a:pt x="1281" y="457"/>
                  </a:lnTo>
                  <a:lnTo>
                    <a:pt x="1286" y="447"/>
                  </a:lnTo>
                  <a:lnTo>
                    <a:pt x="1290" y="437"/>
                  </a:lnTo>
                  <a:lnTo>
                    <a:pt x="1291" y="425"/>
                  </a:lnTo>
                  <a:lnTo>
                    <a:pt x="1291" y="425"/>
                  </a:lnTo>
                  <a:lnTo>
                    <a:pt x="1290" y="413"/>
                  </a:lnTo>
                  <a:lnTo>
                    <a:pt x="1286" y="403"/>
                  </a:lnTo>
                  <a:lnTo>
                    <a:pt x="1281" y="392"/>
                  </a:lnTo>
                  <a:lnTo>
                    <a:pt x="1274" y="384"/>
                  </a:lnTo>
                  <a:lnTo>
                    <a:pt x="1266" y="377"/>
                  </a:lnTo>
                  <a:lnTo>
                    <a:pt x="1255" y="372"/>
                  </a:lnTo>
                  <a:lnTo>
                    <a:pt x="1243" y="368"/>
                  </a:lnTo>
                  <a:lnTo>
                    <a:pt x="1233" y="367"/>
                  </a:lnTo>
                  <a:lnTo>
                    <a:pt x="1233" y="367"/>
                  </a:lnTo>
                  <a:lnTo>
                    <a:pt x="1221" y="368"/>
                  </a:lnTo>
                  <a:lnTo>
                    <a:pt x="1209" y="372"/>
                  </a:lnTo>
                  <a:lnTo>
                    <a:pt x="1199" y="377"/>
                  </a:lnTo>
                  <a:lnTo>
                    <a:pt x="1190" y="384"/>
                  </a:lnTo>
                  <a:lnTo>
                    <a:pt x="1183" y="392"/>
                  </a:lnTo>
                  <a:lnTo>
                    <a:pt x="1178" y="403"/>
                  </a:lnTo>
                  <a:lnTo>
                    <a:pt x="1175" y="413"/>
                  </a:lnTo>
                  <a:lnTo>
                    <a:pt x="1173" y="425"/>
                  </a:lnTo>
                  <a:close/>
                  <a:moveTo>
                    <a:pt x="291" y="483"/>
                  </a:moveTo>
                  <a:lnTo>
                    <a:pt x="291" y="483"/>
                  </a:lnTo>
                  <a:lnTo>
                    <a:pt x="303" y="483"/>
                  </a:lnTo>
                  <a:lnTo>
                    <a:pt x="313" y="480"/>
                  </a:lnTo>
                  <a:lnTo>
                    <a:pt x="323" y="473"/>
                  </a:lnTo>
                  <a:lnTo>
                    <a:pt x="332" y="466"/>
                  </a:lnTo>
                  <a:lnTo>
                    <a:pt x="339" y="457"/>
                  </a:lnTo>
                  <a:lnTo>
                    <a:pt x="346" y="447"/>
                  </a:lnTo>
                  <a:lnTo>
                    <a:pt x="349" y="437"/>
                  </a:lnTo>
                  <a:lnTo>
                    <a:pt x="349" y="425"/>
                  </a:lnTo>
                  <a:lnTo>
                    <a:pt x="349" y="425"/>
                  </a:lnTo>
                  <a:lnTo>
                    <a:pt x="349" y="413"/>
                  </a:lnTo>
                  <a:lnTo>
                    <a:pt x="346" y="403"/>
                  </a:lnTo>
                  <a:lnTo>
                    <a:pt x="339" y="392"/>
                  </a:lnTo>
                  <a:lnTo>
                    <a:pt x="332" y="384"/>
                  </a:lnTo>
                  <a:lnTo>
                    <a:pt x="323" y="377"/>
                  </a:lnTo>
                  <a:lnTo>
                    <a:pt x="313" y="372"/>
                  </a:lnTo>
                  <a:lnTo>
                    <a:pt x="303" y="368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79" y="368"/>
                  </a:lnTo>
                  <a:lnTo>
                    <a:pt x="269" y="372"/>
                  </a:lnTo>
                  <a:lnTo>
                    <a:pt x="258" y="377"/>
                  </a:lnTo>
                  <a:lnTo>
                    <a:pt x="250" y="384"/>
                  </a:lnTo>
                  <a:lnTo>
                    <a:pt x="243" y="392"/>
                  </a:lnTo>
                  <a:lnTo>
                    <a:pt x="238" y="403"/>
                  </a:lnTo>
                  <a:lnTo>
                    <a:pt x="234" y="413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4" y="437"/>
                  </a:lnTo>
                  <a:lnTo>
                    <a:pt x="238" y="447"/>
                  </a:lnTo>
                  <a:lnTo>
                    <a:pt x="243" y="457"/>
                  </a:lnTo>
                  <a:lnTo>
                    <a:pt x="250" y="466"/>
                  </a:lnTo>
                  <a:lnTo>
                    <a:pt x="258" y="473"/>
                  </a:lnTo>
                  <a:lnTo>
                    <a:pt x="269" y="480"/>
                  </a:lnTo>
                  <a:lnTo>
                    <a:pt x="279" y="483"/>
                  </a:lnTo>
                  <a:lnTo>
                    <a:pt x="291" y="48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40435" y="2377848"/>
            <a:ext cx="1890787" cy="1890787"/>
            <a:chOff x="4104806" y="2354997"/>
            <a:chExt cx="1890787" cy="1890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4806" y="2354997"/>
              <a:ext cx="1890787" cy="1890787"/>
            </a:xfrm>
            <a:prstGeom prst="rect">
              <a:avLst/>
            </a:prstGeom>
          </p:spPr>
        </p:pic>
        <p:sp>
          <p:nvSpPr>
            <p:cNvPr id="29" name="Oval 28"/>
            <p:cNvSpPr/>
            <p:nvPr/>
          </p:nvSpPr>
          <p:spPr>
            <a:xfrm>
              <a:off x="4325045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436569" y="2731448"/>
              <a:ext cx="1194100" cy="1192730"/>
              <a:chOff x="6986591" y="447606"/>
              <a:chExt cx="1384301" cy="1382713"/>
            </a:xfrm>
            <a:solidFill>
              <a:srgbClr val="FB3449"/>
            </a:solidFill>
          </p:grpSpPr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6986591" y="447606"/>
                <a:ext cx="1384301" cy="1122363"/>
              </a:xfrm>
              <a:custGeom>
                <a:avLst/>
                <a:gdLst>
                  <a:gd name="T0" fmla="*/ 1727 w 1744"/>
                  <a:gd name="T1" fmla="*/ 91 h 1414"/>
                  <a:gd name="T2" fmla="*/ 1684 w 1744"/>
                  <a:gd name="T3" fmla="*/ 112 h 1414"/>
                  <a:gd name="T4" fmla="*/ 1485 w 1744"/>
                  <a:gd name="T5" fmla="*/ 367 h 1414"/>
                  <a:gd name="T6" fmla="*/ 1393 w 1744"/>
                  <a:gd name="T7" fmla="*/ 946 h 1414"/>
                  <a:gd name="T8" fmla="*/ 1355 w 1744"/>
                  <a:gd name="T9" fmla="*/ 1167 h 1414"/>
                  <a:gd name="T10" fmla="*/ 1314 w 1744"/>
                  <a:gd name="T11" fmla="*/ 1196 h 1414"/>
                  <a:gd name="T12" fmla="*/ 288 w 1744"/>
                  <a:gd name="T13" fmla="*/ 1196 h 1414"/>
                  <a:gd name="T14" fmla="*/ 313 w 1744"/>
                  <a:gd name="T15" fmla="*/ 1301 h 1414"/>
                  <a:gd name="T16" fmla="*/ 341 w 1744"/>
                  <a:gd name="T17" fmla="*/ 1306 h 1414"/>
                  <a:gd name="T18" fmla="*/ 1434 w 1744"/>
                  <a:gd name="T19" fmla="*/ 1311 h 1414"/>
                  <a:gd name="T20" fmla="*/ 1460 w 1744"/>
                  <a:gd name="T21" fmla="*/ 1330 h 1414"/>
                  <a:gd name="T22" fmla="*/ 1466 w 1744"/>
                  <a:gd name="T23" fmla="*/ 1383 h 1414"/>
                  <a:gd name="T24" fmla="*/ 1430 w 1744"/>
                  <a:gd name="T25" fmla="*/ 1412 h 1414"/>
                  <a:gd name="T26" fmla="*/ 288 w 1744"/>
                  <a:gd name="T27" fmla="*/ 1414 h 1414"/>
                  <a:gd name="T28" fmla="*/ 240 w 1744"/>
                  <a:gd name="T29" fmla="*/ 1402 h 1414"/>
                  <a:gd name="T30" fmla="*/ 216 w 1744"/>
                  <a:gd name="T31" fmla="*/ 1358 h 1414"/>
                  <a:gd name="T32" fmla="*/ 32 w 1744"/>
                  <a:gd name="T33" fmla="*/ 624 h 1414"/>
                  <a:gd name="T34" fmla="*/ 0 w 1744"/>
                  <a:gd name="T35" fmla="*/ 478 h 1414"/>
                  <a:gd name="T36" fmla="*/ 14 w 1744"/>
                  <a:gd name="T37" fmla="*/ 458 h 1414"/>
                  <a:gd name="T38" fmla="*/ 56 w 1744"/>
                  <a:gd name="T39" fmla="*/ 435 h 1414"/>
                  <a:gd name="T40" fmla="*/ 279 w 1744"/>
                  <a:gd name="T41" fmla="*/ 410 h 1414"/>
                  <a:gd name="T42" fmla="*/ 663 w 1744"/>
                  <a:gd name="T43" fmla="*/ 363 h 1414"/>
                  <a:gd name="T44" fmla="*/ 918 w 1744"/>
                  <a:gd name="T45" fmla="*/ 333 h 1414"/>
                  <a:gd name="T46" fmla="*/ 1280 w 1744"/>
                  <a:gd name="T47" fmla="*/ 290 h 1414"/>
                  <a:gd name="T48" fmla="*/ 1389 w 1744"/>
                  <a:gd name="T49" fmla="*/ 273 h 1414"/>
                  <a:gd name="T50" fmla="*/ 1396 w 1744"/>
                  <a:gd name="T51" fmla="*/ 240 h 1414"/>
                  <a:gd name="T52" fmla="*/ 1427 w 1744"/>
                  <a:gd name="T53" fmla="*/ 79 h 1414"/>
                  <a:gd name="T54" fmla="*/ 1465 w 1744"/>
                  <a:gd name="T55" fmla="*/ 55 h 1414"/>
                  <a:gd name="T56" fmla="*/ 1699 w 1744"/>
                  <a:gd name="T57" fmla="*/ 0 h 1414"/>
                  <a:gd name="T58" fmla="*/ 1744 w 1744"/>
                  <a:gd name="T59" fmla="*/ 41 h 1414"/>
                  <a:gd name="T60" fmla="*/ 1127 w 1744"/>
                  <a:gd name="T61" fmla="*/ 417 h 1414"/>
                  <a:gd name="T62" fmla="*/ 970 w 1744"/>
                  <a:gd name="T63" fmla="*/ 434 h 1414"/>
                  <a:gd name="T64" fmla="*/ 956 w 1744"/>
                  <a:gd name="T65" fmla="*/ 449 h 1414"/>
                  <a:gd name="T66" fmla="*/ 946 w 1744"/>
                  <a:gd name="T67" fmla="*/ 694 h 1414"/>
                  <a:gd name="T68" fmla="*/ 928 w 1744"/>
                  <a:gd name="T69" fmla="*/ 1080 h 1414"/>
                  <a:gd name="T70" fmla="*/ 939 w 1744"/>
                  <a:gd name="T71" fmla="*/ 1088 h 1414"/>
                  <a:gd name="T72" fmla="*/ 677 w 1744"/>
                  <a:gd name="T73" fmla="*/ 489 h 1414"/>
                  <a:gd name="T74" fmla="*/ 692 w 1744"/>
                  <a:gd name="T75" fmla="*/ 795 h 1414"/>
                  <a:gd name="T76" fmla="*/ 814 w 1744"/>
                  <a:gd name="T77" fmla="*/ 1088 h 1414"/>
                  <a:gd name="T78" fmla="*/ 822 w 1744"/>
                  <a:gd name="T79" fmla="*/ 1076 h 1414"/>
                  <a:gd name="T80" fmla="*/ 838 w 1744"/>
                  <a:gd name="T81" fmla="*/ 691 h 1414"/>
                  <a:gd name="T82" fmla="*/ 846 w 1744"/>
                  <a:gd name="T83" fmla="*/ 497 h 1414"/>
                  <a:gd name="T84" fmla="*/ 598 w 1744"/>
                  <a:gd name="T85" fmla="*/ 1088 h 1414"/>
                  <a:gd name="T86" fmla="*/ 586 w 1744"/>
                  <a:gd name="T87" fmla="*/ 838 h 1414"/>
                  <a:gd name="T88" fmla="*/ 570 w 1744"/>
                  <a:gd name="T89" fmla="*/ 490 h 1414"/>
                  <a:gd name="T90" fmla="*/ 552 w 1744"/>
                  <a:gd name="T91" fmla="*/ 483 h 1414"/>
                  <a:gd name="T92" fmla="*/ 399 w 1744"/>
                  <a:gd name="T93" fmla="*/ 504 h 1414"/>
                  <a:gd name="T94" fmla="*/ 373 w 1744"/>
                  <a:gd name="T95" fmla="*/ 1088 h 1414"/>
                  <a:gd name="T96" fmla="*/ 260 w 1744"/>
                  <a:gd name="T97" fmla="*/ 1088 h 1414"/>
                  <a:gd name="T98" fmla="*/ 1244 w 1744"/>
                  <a:gd name="T99" fmla="*/ 401 h 1414"/>
                  <a:gd name="T100" fmla="*/ 1237 w 1744"/>
                  <a:gd name="T101" fmla="*/ 411 h 1414"/>
                  <a:gd name="T102" fmla="*/ 1187 w 1744"/>
                  <a:gd name="T103" fmla="*/ 801 h 1414"/>
                  <a:gd name="T104" fmla="*/ 1151 w 1744"/>
                  <a:gd name="T105" fmla="*/ 1088 h 1414"/>
                  <a:gd name="T106" fmla="*/ 1263 w 1744"/>
                  <a:gd name="T107" fmla="*/ 1078 h 1414"/>
                  <a:gd name="T108" fmla="*/ 1286 w 1744"/>
                  <a:gd name="T109" fmla="*/ 890 h 1414"/>
                  <a:gd name="T110" fmla="*/ 1340 w 1744"/>
                  <a:gd name="T111" fmla="*/ 502 h 1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44" h="1414">
                    <a:moveTo>
                      <a:pt x="1744" y="67"/>
                    </a:moveTo>
                    <a:lnTo>
                      <a:pt x="1744" y="67"/>
                    </a:lnTo>
                    <a:lnTo>
                      <a:pt x="1739" y="76"/>
                    </a:lnTo>
                    <a:lnTo>
                      <a:pt x="1734" y="84"/>
                    </a:lnTo>
                    <a:lnTo>
                      <a:pt x="1727" y="91"/>
                    </a:lnTo>
                    <a:lnTo>
                      <a:pt x="1720" y="96"/>
                    </a:lnTo>
                    <a:lnTo>
                      <a:pt x="1713" y="101"/>
                    </a:lnTo>
                    <a:lnTo>
                      <a:pt x="1703" y="106"/>
                    </a:lnTo>
                    <a:lnTo>
                      <a:pt x="1684" y="112"/>
                    </a:lnTo>
                    <a:lnTo>
                      <a:pt x="1684" y="112"/>
                    </a:lnTo>
                    <a:lnTo>
                      <a:pt x="1602" y="132"/>
                    </a:lnTo>
                    <a:lnTo>
                      <a:pt x="1519" y="153"/>
                    </a:lnTo>
                    <a:lnTo>
                      <a:pt x="1519" y="153"/>
                    </a:lnTo>
                    <a:lnTo>
                      <a:pt x="1485" y="367"/>
                    </a:lnTo>
                    <a:lnTo>
                      <a:pt x="1485" y="367"/>
                    </a:lnTo>
                    <a:lnTo>
                      <a:pt x="1454" y="559"/>
                    </a:lnTo>
                    <a:lnTo>
                      <a:pt x="1454" y="559"/>
                    </a:lnTo>
                    <a:lnTo>
                      <a:pt x="1420" y="783"/>
                    </a:lnTo>
                    <a:lnTo>
                      <a:pt x="1420" y="783"/>
                    </a:lnTo>
                    <a:lnTo>
                      <a:pt x="1393" y="946"/>
                    </a:lnTo>
                    <a:lnTo>
                      <a:pt x="1393" y="946"/>
                    </a:lnTo>
                    <a:lnTo>
                      <a:pt x="1362" y="1145"/>
                    </a:lnTo>
                    <a:lnTo>
                      <a:pt x="1362" y="1145"/>
                    </a:lnTo>
                    <a:lnTo>
                      <a:pt x="1360" y="1157"/>
                    </a:lnTo>
                    <a:lnTo>
                      <a:pt x="1355" y="1167"/>
                    </a:lnTo>
                    <a:lnTo>
                      <a:pt x="1350" y="1176"/>
                    </a:lnTo>
                    <a:lnTo>
                      <a:pt x="1343" y="1183"/>
                    </a:lnTo>
                    <a:lnTo>
                      <a:pt x="1334" y="1190"/>
                    </a:lnTo>
                    <a:lnTo>
                      <a:pt x="1326" y="1193"/>
                    </a:lnTo>
                    <a:lnTo>
                      <a:pt x="1314" y="1196"/>
                    </a:lnTo>
                    <a:lnTo>
                      <a:pt x="1302" y="1196"/>
                    </a:lnTo>
                    <a:lnTo>
                      <a:pt x="1302" y="1196"/>
                    </a:lnTo>
                    <a:lnTo>
                      <a:pt x="308" y="1196"/>
                    </a:lnTo>
                    <a:lnTo>
                      <a:pt x="288" y="1196"/>
                    </a:lnTo>
                    <a:lnTo>
                      <a:pt x="288" y="1196"/>
                    </a:lnTo>
                    <a:lnTo>
                      <a:pt x="295" y="1229"/>
                    </a:lnTo>
                    <a:lnTo>
                      <a:pt x="295" y="1229"/>
                    </a:lnTo>
                    <a:lnTo>
                      <a:pt x="312" y="1296"/>
                    </a:lnTo>
                    <a:lnTo>
                      <a:pt x="312" y="1296"/>
                    </a:lnTo>
                    <a:lnTo>
                      <a:pt x="313" y="1301"/>
                    </a:lnTo>
                    <a:lnTo>
                      <a:pt x="317" y="1304"/>
                    </a:lnTo>
                    <a:lnTo>
                      <a:pt x="320" y="1306"/>
                    </a:lnTo>
                    <a:lnTo>
                      <a:pt x="325" y="1306"/>
                    </a:lnTo>
                    <a:lnTo>
                      <a:pt x="325" y="1306"/>
                    </a:lnTo>
                    <a:lnTo>
                      <a:pt x="341" y="1306"/>
                    </a:lnTo>
                    <a:lnTo>
                      <a:pt x="341" y="1306"/>
                    </a:lnTo>
                    <a:lnTo>
                      <a:pt x="1403" y="1306"/>
                    </a:lnTo>
                    <a:lnTo>
                      <a:pt x="1403" y="1306"/>
                    </a:lnTo>
                    <a:lnTo>
                      <a:pt x="1418" y="1308"/>
                    </a:lnTo>
                    <a:lnTo>
                      <a:pt x="1434" y="1311"/>
                    </a:lnTo>
                    <a:lnTo>
                      <a:pt x="1441" y="1313"/>
                    </a:lnTo>
                    <a:lnTo>
                      <a:pt x="1448" y="1318"/>
                    </a:lnTo>
                    <a:lnTo>
                      <a:pt x="1454" y="1323"/>
                    </a:lnTo>
                    <a:lnTo>
                      <a:pt x="1460" y="1330"/>
                    </a:lnTo>
                    <a:lnTo>
                      <a:pt x="1460" y="1330"/>
                    </a:lnTo>
                    <a:lnTo>
                      <a:pt x="1466" y="1342"/>
                    </a:lnTo>
                    <a:lnTo>
                      <a:pt x="1470" y="1356"/>
                    </a:lnTo>
                    <a:lnTo>
                      <a:pt x="1470" y="1370"/>
                    </a:lnTo>
                    <a:lnTo>
                      <a:pt x="1466" y="1383"/>
                    </a:lnTo>
                    <a:lnTo>
                      <a:pt x="1466" y="1383"/>
                    </a:lnTo>
                    <a:lnTo>
                      <a:pt x="1460" y="1395"/>
                    </a:lnTo>
                    <a:lnTo>
                      <a:pt x="1449" y="1404"/>
                    </a:lnTo>
                    <a:lnTo>
                      <a:pt x="1444" y="1409"/>
                    </a:lnTo>
                    <a:lnTo>
                      <a:pt x="1437" y="1411"/>
                    </a:lnTo>
                    <a:lnTo>
                      <a:pt x="1430" y="1412"/>
                    </a:lnTo>
                    <a:lnTo>
                      <a:pt x="1422" y="1414"/>
                    </a:lnTo>
                    <a:lnTo>
                      <a:pt x="1422" y="1414"/>
                    </a:lnTo>
                    <a:lnTo>
                      <a:pt x="1403" y="1414"/>
                    </a:lnTo>
                    <a:lnTo>
                      <a:pt x="1403" y="1414"/>
                    </a:lnTo>
                    <a:lnTo>
                      <a:pt x="288" y="1414"/>
                    </a:lnTo>
                    <a:lnTo>
                      <a:pt x="288" y="1414"/>
                    </a:lnTo>
                    <a:lnTo>
                      <a:pt x="272" y="1414"/>
                    </a:lnTo>
                    <a:lnTo>
                      <a:pt x="259" y="1412"/>
                    </a:lnTo>
                    <a:lnTo>
                      <a:pt x="248" y="1407"/>
                    </a:lnTo>
                    <a:lnTo>
                      <a:pt x="240" y="1402"/>
                    </a:lnTo>
                    <a:lnTo>
                      <a:pt x="231" y="1395"/>
                    </a:lnTo>
                    <a:lnTo>
                      <a:pt x="226" y="1385"/>
                    </a:lnTo>
                    <a:lnTo>
                      <a:pt x="221" y="1373"/>
                    </a:lnTo>
                    <a:lnTo>
                      <a:pt x="216" y="1358"/>
                    </a:lnTo>
                    <a:lnTo>
                      <a:pt x="216" y="1358"/>
                    </a:lnTo>
                    <a:lnTo>
                      <a:pt x="170" y="1172"/>
                    </a:lnTo>
                    <a:lnTo>
                      <a:pt x="170" y="1172"/>
                    </a:lnTo>
                    <a:lnTo>
                      <a:pt x="92" y="867"/>
                    </a:lnTo>
                    <a:lnTo>
                      <a:pt x="92" y="867"/>
                    </a:lnTo>
                    <a:lnTo>
                      <a:pt x="32" y="624"/>
                    </a:lnTo>
                    <a:lnTo>
                      <a:pt x="32" y="624"/>
                    </a:lnTo>
                    <a:lnTo>
                      <a:pt x="3" y="509"/>
                    </a:lnTo>
                    <a:lnTo>
                      <a:pt x="3" y="509"/>
                    </a:lnTo>
                    <a:lnTo>
                      <a:pt x="0" y="504"/>
                    </a:lnTo>
                    <a:lnTo>
                      <a:pt x="0" y="478"/>
                    </a:lnTo>
                    <a:lnTo>
                      <a:pt x="0" y="478"/>
                    </a:lnTo>
                    <a:lnTo>
                      <a:pt x="5" y="473"/>
                    </a:lnTo>
                    <a:lnTo>
                      <a:pt x="5" y="473"/>
                    </a:lnTo>
                    <a:lnTo>
                      <a:pt x="8" y="465"/>
                    </a:lnTo>
                    <a:lnTo>
                      <a:pt x="14" y="458"/>
                    </a:lnTo>
                    <a:lnTo>
                      <a:pt x="19" y="453"/>
                    </a:lnTo>
                    <a:lnTo>
                      <a:pt x="24" y="447"/>
                    </a:lnTo>
                    <a:lnTo>
                      <a:pt x="31" y="442"/>
                    </a:lnTo>
                    <a:lnTo>
                      <a:pt x="39" y="441"/>
                    </a:lnTo>
                    <a:lnTo>
                      <a:pt x="56" y="435"/>
                    </a:lnTo>
                    <a:lnTo>
                      <a:pt x="56" y="435"/>
                    </a:lnTo>
                    <a:lnTo>
                      <a:pt x="154" y="425"/>
                    </a:lnTo>
                    <a:lnTo>
                      <a:pt x="154" y="425"/>
                    </a:lnTo>
                    <a:lnTo>
                      <a:pt x="279" y="410"/>
                    </a:lnTo>
                    <a:lnTo>
                      <a:pt x="279" y="410"/>
                    </a:lnTo>
                    <a:lnTo>
                      <a:pt x="409" y="393"/>
                    </a:lnTo>
                    <a:lnTo>
                      <a:pt x="409" y="393"/>
                    </a:lnTo>
                    <a:lnTo>
                      <a:pt x="536" y="379"/>
                    </a:lnTo>
                    <a:lnTo>
                      <a:pt x="536" y="379"/>
                    </a:lnTo>
                    <a:lnTo>
                      <a:pt x="663" y="363"/>
                    </a:lnTo>
                    <a:lnTo>
                      <a:pt x="663" y="363"/>
                    </a:lnTo>
                    <a:lnTo>
                      <a:pt x="790" y="348"/>
                    </a:lnTo>
                    <a:lnTo>
                      <a:pt x="790" y="348"/>
                    </a:lnTo>
                    <a:lnTo>
                      <a:pt x="918" y="333"/>
                    </a:lnTo>
                    <a:lnTo>
                      <a:pt x="918" y="333"/>
                    </a:lnTo>
                    <a:lnTo>
                      <a:pt x="1048" y="317"/>
                    </a:lnTo>
                    <a:lnTo>
                      <a:pt x="1048" y="317"/>
                    </a:lnTo>
                    <a:lnTo>
                      <a:pt x="1175" y="302"/>
                    </a:lnTo>
                    <a:lnTo>
                      <a:pt x="1175" y="302"/>
                    </a:lnTo>
                    <a:lnTo>
                      <a:pt x="1280" y="290"/>
                    </a:lnTo>
                    <a:lnTo>
                      <a:pt x="1280" y="290"/>
                    </a:lnTo>
                    <a:lnTo>
                      <a:pt x="1379" y="276"/>
                    </a:lnTo>
                    <a:lnTo>
                      <a:pt x="1379" y="276"/>
                    </a:lnTo>
                    <a:lnTo>
                      <a:pt x="1386" y="274"/>
                    </a:lnTo>
                    <a:lnTo>
                      <a:pt x="1389" y="273"/>
                    </a:lnTo>
                    <a:lnTo>
                      <a:pt x="1391" y="269"/>
                    </a:lnTo>
                    <a:lnTo>
                      <a:pt x="1393" y="264"/>
                    </a:lnTo>
                    <a:lnTo>
                      <a:pt x="1393" y="264"/>
                    </a:lnTo>
                    <a:lnTo>
                      <a:pt x="1396" y="240"/>
                    </a:lnTo>
                    <a:lnTo>
                      <a:pt x="1396" y="240"/>
                    </a:lnTo>
                    <a:lnTo>
                      <a:pt x="1417" y="106"/>
                    </a:lnTo>
                    <a:lnTo>
                      <a:pt x="1417" y="106"/>
                    </a:lnTo>
                    <a:lnTo>
                      <a:pt x="1420" y="96"/>
                    </a:lnTo>
                    <a:lnTo>
                      <a:pt x="1422" y="88"/>
                    </a:lnTo>
                    <a:lnTo>
                      <a:pt x="1427" y="79"/>
                    </a:lnTo>
                    <a:lnTo>
                      <a:pt x="1432" y="72"/>
                    </a:lnTo>
                    <a:lnTo>
                      <a:pt x="1439" y="67"/>
                    </a:lnTo>
                    <a:lnTo>
                      <a:pt x="1446" y="62"/>
                    </a:lnTo>
                    <a:lnTo>
                      <a:pt x="1456" y="58"/>
                    </a:lnTo>
                    <a:lnTo>
                      <a:pt x="1465" y="55"/>
                    </a:lnTo>
                    <a:lnTo>
                      <a:pt x="1465" y="55"/>
                    </a:lnTo>
                    <a:lnTo>
                      <a:pt x="1621" y="16"/>
                    </a:lnTo>
                    <a:lnTo>
                      <a:pt x="1621" y="16"/>
                    </a:lnTo>
                    <a:lnTo>
                      <a:pt x="1679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713" y="7"/>
                    </a:lnTo>
                    <a:lnTo>
                      <a:pt x="1725" y="16"/>
                    </a:lnTo>
                    <a:lnTo>
                      <a:pt x="1735" y="28"/>
                    </a:lnTo>
                    <a:lnTo>
                      <a:pt x="1744" y="41"/>
                    </a:lnTo>
                    <a:lnTo>
                      <a:pt x="1744" y="67"/>
                    </a:lnTo>
                    <a:close/>
                    <a:moveTo>
                      <a:pt x="1043" y="1088"/>
                    </a:moveTo>
                    <a:lnTo>
                      <a:pt x="1043" y="1088"/>
                    </a:lnTo>
                    <a:lnTo>
                      <a:pt x="1127" y="417"/>
                    </a:lnTo>
                    <a:lnTo>
                      <a:pt x="1127" y="417"/>
                    </a:lnTo>
                    <a:lnTo>
                      <a:pt x="1105" y="418"/>
                    </a:lnTo>
                    <a:lnTo>
                      <a:pt x="1105" y="418"/>
                    </a:lnTo>
                    <a:lnTo>
                      <a:pt x="1047" y="425"/>
                    </a:lnTo>
                    <a:lnTo>
                      <a:pt x="1047" y="425"/>
                    </a:lnTo>
                    <a:lnTo>
                      <a:pt x="970" y="434"/>
                    </a:lnTo>
                    <a:lnTo>
                      <a:pt x="970" y="434"/>
                    </a:lnTo>
                    <a:lnTo>
                      <a:pt x="963" y="435"/>
                    </a:lnTo>
                    <a:lnTo>
                      <a:pt x="959" y="439"/>
                    </a:lnTo>
                    <a:lnTo>
                      <a:pt x="956" y="442"/>
                    </a:lnTo>
                    <a:lnTo>
                      <a:pt x="956" y="449"/>
                    </a:lnTo>
                    <a:lnTo>
                      <a:pt x="956" y="449"/>
                    </a:lnTo>
                    <a:lnTo>
                      <a:pt x="949" y="621"/>
                    </a:lnTo>
                    <a:lnTo>
                      <a:pt x="949" y="621"/>
                    </a:lnTo>
                    <a:lnTo>
                      <a:pt x="946" y="694"/>
                    </a:lnTo>
                    <a:lnTo>
                      <a:pt x="946" y="694"/>
                    </a:lnTo>
                    <a:lnTo>
                      <a:pt x="935" y="890"/>
                    </a:lnTo>
                    <a:lnTo>
                      <a:pt x="935" y="890"/>
                    </a:lnTo>
                    <a:lnTo>
                      <a:pt x="932" y="1011"/>
                    </a:lnTo>
                    <a:lnTo>
                      <a:pt x="932" y="1011"/>
                    </a:lnTo>
                    <a:lnTo>
                      <a:pt x="928" y="1080"/>
                    </a:lnTo>
                    <a:lnTo>
                      <a:pt x="928" y="1080"/>
                    </a:lnTo>
                    <a:lnTo>
                      <a:pt x="928" y="1085"/>
                    </a:lnTo>
                    <a:lnTo>
                      <a:pt x="930" y="1088"/>
                    </a:lnTo>
                    <a:lnTo>
                      <a:pt x="934" y="1088"/>
                    </a:lnTo>
                    <a:lnTo>
                      <a:pt x="939" y="1088"/>
                    </a:lnTo>
                    <a:lnTo>
                      <a:pt x="939" y="1088"/>
                    </a:lnTo>
                    <a:lnTo>
                      <a:pt x="1043" y="1088"/>
                    </a:lnTo>
                    <a:close/>
                    <a:moveTo>
                      <a:pt x="677" y="470"/>
                    </a:moveTo>
                    <a:lnTo>
                      <a:pt x="677" y="470"/>
                    </a:lnTo>
                    <a:lnTo>
                      <a:pt x="677" y="489"/>
                    </a:lnTo>
                    <a:lnTo>
                      <a:pt x="677" y="489"/>
                    </a:lnTo>
                    <a:lnTo>
                      <a:pt x="689" y="715"/>
                    </a:lnTo>
                    <a:lnTo>
                      <a:pt x="689" y="715"/>
                    </a:lnTo>
                    <a:lnTo>
                      <a:pt x="692" y="795"/>
                    </a:lnTo>
                    <a:lnTo>
                      <a:pt x="692" y="795"/>
                    </a:lnTo>
                    <a:lnTo>
                      <a:pt x="702" y="1016"/>
                    </a:lnTo>
                    <a:lnTo>
                      <a:pt x="702" y="1016"/>
                    </a:lnTo>
                    <a:lnTo>
                      <a:pt x="706" y="1088"/>
                    </a:lnTo>
                    <a:lnTo>
                      <a:pt x="706" y="1088"/>
                    </a:lnTo>
                    <a:lnTo>
                      <a:pt x="814" y="1088"/>
                    </a:lnTo>
                    <a:lnTo>
                      <a:pt x="814" y="1088"/>
                    </a:lnTo>
                    <a:lnTo>
                      <a:pt x="817" y="1087"/>
                    </a:lnTo>
                    <a:lnTo>
                      <a:pt x="819" y="1083"/>
                    </a:lnTo>
                    <a:lnTo>
                      <a:pt x="822" y="1076"/>
                    </a:lnTo>
                    <a:lnTo>
                      <a:pt x="822" y="1076"/>
                    </a:lnTo>
                    <a:lnTo>
                      <a:pt x="826" y="968"/>
                    </a:lnTo>
                    <a:lnTo>
                      <a:pt x="826" y="968"/>
                    </a:lnTo>
                    <a:lnTo>
                      <a:pt x="829" y="886"/>
                    </a:lnTo>
                    <a:lnTo>
                      <a:pt x="829" y="886"/>
                    </a:lnTo>
                    <a:lnTo>
                      <a:pt x="838" y="691"/>
                    </a:lnTo>
                    <a:lnTo>
                      <a:pt x="838" y="691"/>
                    </a:lnTo>
                    <a:lnTo>
                      <a:pt x="843" y="569"/>
                    </a:lnTo>
                    <a:lnTo>
                      <a:pt x="843" y="569"/>
                    </a:lnTo>
                    <a:lnTo>
                      <a:pt x="846" y="497"/>
                    </a:lnTo>
                    <a:lnTo>
                      <a:pt x="846" y="497"/>
                    </a:lnTo>
                    <a:lnTo>
                      <a:pt x="848" y="473"/>
                    </a:lnTo>
                    <a:lnTo>
                      <a:pt x="846" y="449"/>
                    </a:lnTo>
                    <a:lnTo>
                      <a:pt x="846" y="449"/>
                    </a:lnTo>
                    <a:lnTo>
                      <a:pt x="677" y="470"/>
                    </a:lnTo>
                    <a:close/>
                    <a:moveTo>
                      <a:pt x="598" y="1088"/>
                    </a:moveTo>
                    <a:lnTo>
                      <a:pt x="598" y="1088"/>
                    </a:lnTo>
                    <a:lnTo>
                      <a:pt x="594" y="1022"/>
                    </a:lnTo>
                    <a:lnTo>
                      <a:pt x="594" y="1022"/>
                    </a:lnTo>
                    <a:lnTo>
                      <a:pt x="586" y="838"/>
                    </a:lnTo>
                    <a:lnTo>
                      <a:pt x="586" y="838"/>
                    </a:lnTo>
                    <a:lnTo>
                      <a:pt x="581" y="723"/>
                    </a:lnTo>
                    <a:lnTo>
                      <a:pt x="581" y="723"/>
                    </a:lnTo>
                    <a:lnTo>
                      <a:pt x="572" y="501"/>
                    </a:lnTo>
                    <a:lnTo>
                      <a:pt x="572" y="501"/>
                    </a:lnTo>
                    <a:lnTo>
                      <a:pt x="570" y="490"/>
                    </a:lnTo>
                    <a:lnTo>
                      <a:pt x="569" y="487"/>
                    </a:lnTo>
                    <a:lnTo>
                      <a:pt x="567" y="485"/>
                    </a:lnTo>
                    <a:lnTo>
                      <a:pt x="565" y="483"/>
                    </a:lnTo>
                    <a:lnTo>
                      <a:pt x="562" y="483"/>
                    </a:lnTo>
                    <a:lnTo>
                      <a:pt x="552" y="483"/>
                    </a:lnTo>
                    <a:lnTo>
                      <a:pt x="552" y="483"/>
                    </a:lnTo>
                    <a:lnTo>
                      <a:pt x="516" y="490"/>
                    </a:lnTo>
                    <a:lnTo>
                      <a:pt x="516" y="490"/>
                    </a:lnTo>
                    <a:lnTo>
                      <a:pt x="399" y="504"/>
                    </a:lnTo>
                    <a:lnTo>
                      <a:pt x="399" y="504"/>
                    </a:lnTo>
                    <a:lnTo>
                      <a:pt x="483" y="1088"/>
                    </a:lnTo>
                    <a:lnTo>
                      <a:pt x="598" y="1088"/>
                    </a:lnTo>
                    <a:close/>
                    <a:moveTo>
                      <a:pt x="260" y="1088"/>
                    </a:moveTo>
                    <a:lnTo>
                      <a:pt x="373" y="1088"/>
                    </a:lnTo>
                    <a:lnTo>
                      <a:pt x="373" y="1088"/>
                    </a:lnTo>
                    <a:lnTo>
                      <a:pt x="293" y="516"/>
                    </a:lnTo>
                    <a:lnTo>
                      <a:pt x="293" y="516"/>
                    </a:lnTo>
                    <a:lnTo>
                      <a:pt x="122" y="537"/>
                    </a:lnTo>
                    <a:lnTo>
                      <a:pt x="122" y="537"/>
                    </a:lnTo>
                    <a:lnTo>
                      <a:pt x="260" y="1088"/>
                    </a:lnTo>
                    <a:close/>
                    <a:moveTo>
                      <a:pt x="1353" y="391"/>
                    </a:moveTo>
                    <a:lnTo>
                      <a:pt x="1353" y="391"/>
                    </a:lnTo>
                    <a:lnTo>
                      <a:pt x="1350" y="389"/>
                    </a:lnTo>
                    <a:lnTo>
                      <a:pt x="1350" y="389"/>
                    </a:lnTo>
                    <a:lnTo>
                      <a:pt x="1244" y="401"/>
                    </a:lnTo>
                    <a:lnTo>
                      <a:pt x="1244" y="401"/>
                    </a:lnTo>
                    <a:lnTo>
                      <a:pt x="1242" y="403"/>
                    </a:lnTo>
                    <a:lnTo>
                      <a:pt x="1239" y="405"/>
                    </a:lnTo>
                    <a:lnTo>
                      <a:pt x="1237" y="411"/>
                    </a:lnTo>
                    <a:lnTo>
                      <a:pt x="1237" y="411"/>
                    </a:lnTo>
                    <a:lnTo>
                      <a:pt x="1220" y="540"/>
                    </a:lnTo>
                    <a:lnTo>
                      <a:pt x="1220" y="540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187" y="801"/>
                    </a:lnTo>
                    <a:lnTo>
                      <a:pt x="1187" y="801"/>
                    </a:lnTo>
                    <a:lnTo>
                      <a:pt x="1172" y="924"/>
                    </a:lnTo>
                    <a:lnTo>
                      <a:pt x="1172" y="924"/>
                    </a:lnTo>
                    <a:lnTo>
                      <a:pt x="1151" y="1088"/>
                    </a:lnTo>
                    <a:lnTo>
                      <a:pt x="1151" y="1088"/>
                    </a:lnTo>
                    <a:lnTo>
                      <a:pt x="1252" y="1088"/>
                    </a:lnTo>
                    <a:lnTo>
                      <a:pt x="1252" y="1088"/>
                    </a:lnTo>
                    <a:lnTo>
                      <a:pt x="1256" y="1087"/>
                    </a:lnTo>
                    <a:lnTo>
                      <a:pt x="1259" y="1085"/>
                    </a:lnTo>
                    <a:lnTo>
                      <a:pt x="1263" y="1078"/>
                    </a:lnTo>
                    <a:lnTo>
                      <a:pt x="1263" y="1078"/>
                    </a:lnTo>
                    <a:lnTo>
                      <a:pt x="1271" y="1006"/>
                    </a:lnTo>
                    <a:lnTo>
                      <a:pt x="1271" y="1006"/>
                    </a:lnTo>
                    <a:lnTo>
                      <a:pt x="1286" y="890"/>
                    </a:lnTo>
                    <a:lnTo>
                      <a:pt x="1286" y="890"/>
                    </a:lnTo>
                    <a:lnTo>
                      <a:pt x="1302" y="775"/>
                    </a:lnTo>
                    <a:lnTo>
                      <a:pt x="1302" y="775"/>
                    </a:lnTo>
                    <a:lnTo>
                      <a:pt x="1321" y="638"/>
                    </a:lnTo>
                    <a:lnTo>
                      <a:pt x="1321" y="638"/>
                    </a:lnTo>
                    <a:lnTo>
                      <a:pt x="1340" y="502"/>
                    </a:lnTo>
                    <a:lnTo>
                      <a:pt x="1340" y="502"/>
                    </a:lnTo>
                    <a:lnTo>
                      <a:pt x="1353" y="39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42"/>
              <p:cNvSpPr>
                <a:spLocks/>
              </p:cNvSpPr>
              <p:nvPr/>
            </p:nvSpPr>
            <p:spPr bwMode="auto">
              <a:xfrm>
                <a:off x="7289804" y="1657281"/>
                <a:ext cx="171450" cy="173038"/>
              </a:xfrm>
              <a:custGeom>
                <a:avLst/>
                <a:gdLst>
                  <a:gd name="T0" fmla="*/ 101 w 216"/>
                  <a:gd name="T1" fmla="*/ 218 h 218"/>
                  <a:gd name="T2" fmla="*/ 101 w 216"/>
                  <a:gd name="T3" fmla="*/ 218 h 218"/>
                  <a:gd name="T4" fmla="*/ 82 w 216"/>
                  <a:gd name="T5" fmla="*/ 213 h 218"/>
                  <a:gd name="T6" fmla="*/ 67 w 216"/>
                  <a:gd name="T7" fmla="*/ 208 h 218"/>
                  <a:gd name="T8" fmla="*/ 50 w 216"/>
                  <a:gd name="T9" fmla="*/ 199 h 218"/>
                  <a:gd name="T10" fmla="*/ 36 w 216"/>
                  <a:gd name="T11" fmla="*/ 187 h 218"/>
                  <a:gd name="T12" fmla="*/ 36 w 216"/>
                  <a:gd name="T13" fmla="*/ 187 h 218"/>
                  <a:gd name="T14" fmla="*/ 22 w 216"/>
                  <a:gd name="T15" fmla="*/ 174 h 218"/>
                  <a:gd name="T16" fmla="*/ 12 w 216"/>
                  <a:gd name="T17" fmla="*/ 158 h 218"/>
                  <a:gd name="T18" fmla="*/ 5 w 216"/>
                  <a:gd name="T19" fmla="*/ 139 h 218"/>
                  <a:gd name="T20" fmla="*/ 2 w 216"/>
                  <a:gd name="T21" fmla="*/ 122 h 218"/>
                  <a:gd name="T22" fmla="*/ 0 w 216"/>
                  <a:gd name="T23" fmla="*/ 102 h 218"/>
                  <a:gd name="T24" fmla="*/ 3 w 216"/>
                  <a:gd name="T25" fmla="*/ 83 h 218"/>
                  <a:gd name="T26" fmla="*/ 10 w 216"/>
                  <a:gd name="T27" fmla="*/ 64 h 218"/>
                  <a:gd name="T28" fmla="*/ 22 w 216"/>
                  <a:gd name="T29" fmla="*/ 45 h 218"/>
                  <a:gd name="T30" fmla="*/ 22 w 216"/>
                  <a:gd name="T31" fmla="*/ 45 h 218"/>
                  <a:gd name="T32" fmla="*/ 29 w 216"/>
                  <a:gd name="T33" fmla="*/ 35 h 218"/>
                  <a:gd name="T34" fmla="*/ 38 w 216"/>
                  <a:gd name="T35" fmla="*/ 28 h 218"/>
                  <a:gd name="T36" fmla="*/ 46 w 216"/>
                  <a:gd name="T37" fmla="*/ 21 h 218"/>
                  <a:gd name="T38" fmla="*/ 55 w 216"/>
                  <a:gd name="T39" fmla="*/ 14 h 218"/>
                  <a:gd name="T40" fmla="*/ 65 w 216"/>
                  <a:gd name="T41" fmla="*/ 9 h 218"/>
                  <a:gd name="T42" fmla="*/ 75 w 216"/>
                  <a:gd name="T43" fmla="*/ 6 h 218"/>
                  <a:gd name="T44" fmla="*/ 86 w 216"/>
                  <a:gd name="T45" fmla="*/ 2 h 218"/>
                  <a:gd name="T46" fmla="*/ 96 w 216"/>
                  <a:gd name="T47" fmla="*/ 0 h 218"/>
                  <a:gd name="T48" fmla="*/ 108 w 216"/>
                  <a:gd name="T49" fmla="*/ 0 h 218"/>
                  <a:gd name="T50" fmla="*/ 118 w 216"/>
                  <a:gd name="T51" fmla="*/ 0 h 218"/>
                  <a:gd name="T52" fmla="*/ 128 w 216"/>
                  <a:gd name="T53" fmla="*/ 2 h 218"/>
                  <a:gd name="T54" fmla="*/ 139 w 216"/>
                  <a:gd name="T55" fmla="*/ 6 h 218"/>
                  <a:gd name="T56" fmla="*/ 151 w 216"/>
                  <a:gd name="T57" fmla="*/ 9 h 218"/>
                  <a:gd name="T58" fmla="*/ 159 w 216"/>
                  <a:gd name="T59" fmla="*/ 12 h 218"/>
                  <a:gd name="T60" fmla="*/ 170 w 216"/>
                  <a:gd name="T61" fmla="*/ 19 h 218"/>
                  <a:gd name="T62" fmla="*/ 178 w 216"/>
                  <a:gd name="T63" fmla="*/ 26 h 218"/>
                  <a:gd name="T64" fmla="*/ 178 w 216"/>
                  <a:gd name="T65" fmla="*/ 26 h 218"/>
                  <a:gd name="T66" fmla="*/ 190 w 216"/>
                  <a:gd name="T67" fmla="*/ 38 h 218"/>
                  <a:gd name="T68" fmla="*/ 200 w 216"/>
                  <a:gd name="T69" fmla="*/ 54 h 218"/>
                  <a:gd name="T70" fmla="*/ 209 w 216"/>
                  <a:gd name="T71" fmla="*/ 69 h 218"/>
                  <a:gd name="T72" fmla="*/ 214 w 216"/>
                  <a:gd name="T73" fmla="*/ 86 h 218"/>
                  <a:gd name="T74" fmla="*/ 216 w 216"/>
                  <a:gd name="T75" fmla="*/ 103 h 218"/>
                  <a:gd name="T76" fmla="*/ 216 w 216"/>
                  <a:gd name="T77" fmla="*/ 122 h 218"/>
                  <a:gd name="T78" fmla="*/ 212 w 216"/>
                  <a:gd name="T79" fmla="*/ 139 h 218"/>
                  <a:gd name="T80" fmla="*/ 206 w 216"/>
                  <a:gd name="T81" fmla="*/ 156 h 218"/>
                  <a:gd name="T82" fmla="*/ 206 w 216"/>
                  <a:gd name="T83" fmla="*/ 156 h 218"/>
                  <a:gd name="T84" fmla="*/ 197 w 216"/>
                  <a:gd name="T85" fmla="*/ 168 h 218"/>
                  <a:gd name="T86" fmla="*/ 188 w 216"/>
                  <a:gd name="T87" fmla="*/ 180 h 218"/>
                  <a:gd name="T88" fmla="*/ 178 w 216"/>
                  <a:gd name="T89" fmla="*/ 189 h 218"/>
                  <a:gd name="T90" fmla="*/ 168 w 216"/>
                  <a:gd name="T91" fmla="*/ 198 h 218"/>
                  <a:gd name="T92" fmla="*/ 156 w 216"/>
                  <a:gd name="T93" fmla="*/ 204 h 218"/>
                  <a:gd name="T94" fmla="*/ 144 w 216"/>
                  <a:gd name="T95" fmla="*/ 210 h 218"/>
                  <a:gd name="T96" fmla="*/ 130 w 216"/>
                  <a:gd name="T97" fmla="*/ 215 h 218"/>
                  <a:gd name="T98" fmla="*/ 116 w 216"/>
                  <a:gd name="T99" fmla="*/ 218 h 218"/>
                  <a:gd name="T100" fmla="*/ 101 w 216"/>
                  <a:gd name="T101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18">
                    <a:moveTo>
                      <a:pt x="101" y="218"/>
                    </a:moveTo>
                    <a:lnTo>
                      <a:pt x="101" y="218"/>
                    </a:lnTo>
                    <a:lnTo>
                      <a:pt x="82" y="213"/>
                    </a:lnTo>
                    <a:lnTo>
                      <a:pt x="67" y="208"/>
                    </a:lnTo>
                    <a:lnTo>
                      <a:pt x="50" y="199"/>
                    </a:lnTo>
                    <a:lnTo>
                      <a:pt x="36" y="187"/>
                    </a:lnTo>
                    <a:lnTo>
                      <a:pt x="36" y="187"/>
                    </a:lnTo>
                    <a:lnTo>
                      <a:pt x="22" y="174"/>
                    </a:lnTo>
                    <a:lnTo>
                      <a:pt x="12" y="158"/>
                    </a:lnTo>
                    <a:lnTo>
                      <a:pt x="5" y="139"/>
                    </a:lnTo>
                    <a:lnTo>
                      <a:pt x="2" y="122"/>
                    </a:lnTo>
                    <a:lnTo>
                      <a:pt x="0" y="102"/>
                    </a:lnTo>
                    <a:lnTo>
                      <a:pt x="3" y="83"/>
                    </a:lnTo>
                    <a:lnTo>
                      <a:pt x="10" y="64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9" y="35"/>
                    </a:lnTo>
                    <a:lnTo>
                      <a:pt x="38" y="28"/>
                    </a:lnTo>
                    <a:lnTo>
                      <a:pt x="46" y="21"/>
                    </a:lnTo>
                    <a:lnTo>
                      <a:pt x="55" y="14"/>
                    </a:lnTo>
                    <a:lnTo>
                      <a:pt x="65" y="9"/>
                    </a:lnTo>
                    <a:lnTo>
                      <a:pt x="75" y="6"/>
                    </a:lnTo>
                    <a:lnTo>
                      <a:pt x="86" y="2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28" y="2"/>
                    </a:lnTo>
                    <a:lnTo>
                      <a:pt x="139" y="6"/>
                    </a:lnTo>
                    <a:lnTo>
                      <a:pt x="151" y="9"/>
                    </a:lnTo>
                    <a:lnTo>
                      <a:pt x="159" y="12"/>
                    </a:lnTo>
                    <a:lnTo>
                      <a:pt x="170" y="19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90" y="38"/>
                    </a:lnTo>
                    <a:lnTo>
                      <a:pt x="200" y="54"/>
                    </a:lnTo>
                    <a:lnTo>
                      <a:pt x="209" y="69"/>
                    </a:lnTo>
                    <a:lnTo>
                      <a:pt x="214" y="86"/>
                    </a:lnTo>
                    <a:lnTo>
                      <a:pt x="216" y="103"/>
                    </a:lnTo>
                    <a:lnTo>
                      <a:pt x="216" y="122"/>
                    </a:lnTo>
                    <a:lnTo>
                      <a:pt x="212" y="139"/>
                    </a:lnTo>
                    <a:lnTo>
                      <a:pt x="206" y="156"/>
                    </a:lnTo>
                    <a:lnTo>
                      <a:pt x="206" y="156"/>
                    </a:lnTo>
                    <a:lnTo>
                      <a:pt x="197" y="168"/>
                    </a:lnTo>
                    <a:lnTo>
                      <a:pt x="188" y="180"/>
                    </a:lnTo>
                    <a:lnTo>
                      <a:pt x="178" y="189"/>
                    </a:lnTo>
                    <a:lnTo>
                      <a:pt x="168" y="198"/>
                    </a:lnTo>
                    <a:lnTo>
                      <a:pt x="156" y="204"/>
                    </a:lnTo>
                    <a:lnTo>
                      <a:pt x="144" y="210"/>
                    </a:lnTo>
                    <a:lnTo>
                      <a:pt x="130" y="215"/>
                    </a:lnTo>
                    <a:lnTo>
                      <a:pt x="116" y="218"/>
                    </a:lnTo>
                    <a:lnTo>
                      <a:pt x="101" y="21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7853367" y="1657281"/>
                <a:ext cx="171450" cy="173038"/>
              </a:xfrm>
              <a:custGeom>
                <a:avLst/>
                <a:gdLst>
                  <a:gd name="T0" fmla="*/ 98 w 216"/>
                  <a:gd name="T1" fmla="*/ 218 h 218"/>
                  <a:gd name="T2" fmla="*/ 98 w 216"/>
                  <a:gd name="T3" fmla="*/ 218 h 218"/>
                  <a:gd name="T4" fmla="*/ 67 w 216"/>
                  <a:gd name="T5" fmla="*/ 208 h 218"/>
                  <a:gd name="T6" fmla="*/ 53 w 216"/>
                  <a:gd name="T7" fmla="*/ 201 h 218"/>
                  <a:gd name="T8" fmla="*/ 38 w 216"/>
                  <a:gd name="T9" fmla="*/ 191 h 218"/>
                  <a:gd name="T10" fmla="*/ 38 w 216"/>
                  <a:gd name="T11" fmla="*/ 191 h 218"/>
                  <a:gd name="T12" fmla="*/ 29 w 216"/>
                  <a:gd name="T13" fmla="*/ 182 h 218"/>
                  <a:gd name="T14" fmla="*/ 21 w 216"/>
                  <a:gd name="T15" fmla="*/ 174 h 218"/>
                  <a:gd name="T16" fmla="*/ 16 w 216"/>
                  <a:gd name="T17" fmla="*/ 163 h 218"/>
                  <a:gd name="T18" fmla="*/ 9 w 216"/>
                  <a:gd name="T19" fmla="*/ 153 h 218"/>
                  <a:gd name="T20" fmla="*/ 5 w 216"/>
                  <a:gd name="T21" fmla="*/ 143 h 218"/>
                  <a:gd name="T22" fmla="*/ 2 w 216"/>
                  <a:gd name="T23" fmla="*/ 131 h 218"/>
                  <a:gd name="T24" fmla="*/ 0 w 216"/>
                  <a:gd name="T25" fmla="*/ 119 h 218"/>
                  <a:gd name="T26" fmla="*/ 0 w 216"/>
                  <a:gd name="T27" fmla="*/ 107 h 218"/>
                  <a:gd name="T28" fmla="*/ 0 w 216"/>
                  <a:gd name="T29" fmla="*/ 107 h 218"/>
                  <a:gd name="T30" fmla="*/ 2 w 216"/>
                  <a:gd name="T31" fmla="*/ 88 h 218"/>
                  <a:gd name="T32" fmla="*/ 7 w 216"/>
                  <a:gd name="T33" fmla="*/ 71 h 218"/>
                  <a:gd name="T34" fmla="*/ 14 w 216"/>
                  <a:gd name="T35" fmla="*/ 54 h 218"/>
                  <a:gd name="T36" fmla="*/ 24 w 216"/>
                  <a:gd name="T37" fmla="*/ 38 h 218"/>
                  <a:gd name="T38" fmla="*/ 38 w 216"/>
                  <a:gd name="T39" fmla="*/ 26 h 218"/>
                  <a:gd name="T40" fmla="*/ 52 w 216"/>
                  <a:gd name="T41" fmla="*/ 16 h 218"/>
                  <a:gd name="T42" fmla="*/ 69 w 216"/>
                  <a:gd name="T43" fmla="*/ 7 h 218"/>
                  <a:gd name="T44" fmla="*/ 88 w 216"/>
                  <a:gd name="T45" fmla="*/ 2 h 218"/>
                  <a:gd name="T46" fmla="*/ 88 w 216"/>
                  <a:gd name="T47" fmla="*/ 2 h 218"/>
                  <a:gd name="T48" fmla="*/ 101 w 216"/>
                  <a:gd name="T49" fmla="*/ 0 h 218"/>
                  <a:gd name="T50" fmla="*/ 115 w 216"/>
                  <a:gd name="T51" fmla="*/ 0 h 218"/>
                  <a:gd name="T52" fmla="*/ 129 w 216"/>
                  <a:gd name="T53" fmla="*/ 2 h 218"/>
                  <a:gd name="T54" fmla="*/ 142 w 216"/>
                  <a:gd name="T55" fmla="*/ 6 h 218"/>
                  <a:gd name="T56" fmla="*/ 154 w 216"/>
                  <a:gd name="T57" fmla="*/ 11 h 218"/>
                  <a:gd name="T58" fmla="*/ 166 w 216"/>
                  <a:gd name="T59" fmla="*/ 18 h 218"/>
                  <a:gd name="T60" fmla="*/ 177 w 216"/>
                  <a:gd name="T61" fmla="*/ 26 h 218"/>
                  <a:gd name="T62" fmla="*/ 187 w 216"/>
                  <a:gd name="T63" fmla="*/ 35 h 218"/>
                  <a:gd name="T64" fmla="*/ 195 w 216"/>
                  <a:gd name="T65" fmla="*/ 45 h 218"/>
                  <a:gd name="T66" fmla="*/ 202 w 216"/>
                  <a:gd name="T67" fmla="*/ 57 h 218"/>
                  <a:gd name="T68" fmla="*/ 207 w 216"/>
                  <a:gd name="T69" fmla="*/ 69 h 218"/>
                  <a:gd name="T70" fmla="*/ 213 w 216"/>
                  <a:gd name="T71" fmla="*/ 81 h 218"/>
                  <a:gd name="T72" fmla="*/ 214 w 216"/>
                  <a:gd name="T73" fmla="*/ 95 h 218"/>
                  <a:gd name="T74" fmla="*/ 216 w 216"/>
                  <a:gd name="T75" fmla="*/ 108 h 218"/>
                  <a:gd name="T76" fmla="*/ 214 w 216"/>
                  <a:gd name="T77" fmla="*/ 124 h 218"/>
                  <a:gd name="T78" fmla="*/ 213 w 216"/>
                  <a:gd name="T79" fmla="*/ 138 h 218"/>
                  <a:gd name="T80" fmla="*/ 213 w 216"/>
                  <a:gd name="T81" fmla="*/ 138 h 218"/>
                  <a:gd name="T82" fmla="*/ 206 w 216"/>
                  <a:gd name="T83" fmla="*/ 153 h 218"/>
                  <a:gd name="T84" fmla="*/ 199 w 216"/>
                  <a:gd name="T85" fmla="*/ 167 h 218"/>
                  <a:gd name="T86" fmla="*/ 190 w 216"/>
                  <a:gd name="T87" fmla="*/ 179 h 218"/>
                  <a:gd name="T88" fmla="*/ 180 w 216"/>
                  <a:gd name="T89" fmla="*/ 189 h 218"/>
                  <a:gd name="T90" fmla="*/ 170 w 216"/>
                  <a:gd name="T91" fmla="*/ 198 h 218"/>
                  <a:gd name="T92" fmla="*/ 156 w 216"/>
                  <a:gd name="T93" fmla="*/ 204 h 218"/>
                  <a:gd name="T94" fmla="*/ 142 w 216"/>
                  <a:gd name="T95" fmla="*/ 211 h 218"/>
                  <a:gd name="T96" fmla="*/ 127 w 216"/>
                  <a:gd name="T97" fmla="*/ 215 h 218"/>
                  <a:gd name="T98" fmla="*/ 127 w 216"/>
                  <a:gd name="T99" fmla="*/ 215 h 218"/>
                  <a:gd name="T100" fmla="*/ 118 w 216"/>
                  <a:gd name="T101" fmla="*/ 218 h 218"/>
                  <a:gd name="T102" fmla="*/ 98 w 216"/>
                  <a:gd name="T103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18">
                    <a:moveTo>
                      <a:pt x="98" y="218"/>
                    </a:moveTo>
                    <a:lnTo>
                      <a:pt x="98" y="218"/>
                    </a:lnTo>
                    <a:lnTo>
                      <a:pt x="67" y="208"/>
                    </a:lnTo>
                    <a:lnTo>
                      <a:pt x="53" y="201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29" y="182"/>
                    </a:lnTo>
                    <a:lnTo>
                      <a:pt x="21" y="174"/>
                    </a:lnTo>
                    <a:lnTo>
                      <a:pt x="16" y="163"/>
                    </a:lnTo>
                    <a:lnTo>
                      <a:pt x="9" y="153"/>
                    </a:lnTo>
                    <a:lnTo>
                      <a:pt x="5" y="143"/>
                    </a:lnTo>
                    <a:lnTo>
                      <a:pt x="2" y="131"/>
                    </a:lnTo>
                    <a:lnTo>
                      <a:pt x="0" y="119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2" y="88"/>
                    </a:lnTo>
                    <a:lnTo>
                      <a:pt x="7" y="71"/>
                    </a:lnTo>
                    <a:lnTo>
                      <a:pt x="14" y="54"/>
                    </a:lnTo>
                    <a:lnTo>
                      <a:pt x="24" y="38"/>
                    </a:lnTo>
                    <a:lnTo>
                      <a:pt x="38" y="26"/>
                    </a:lnTo>
                    <a:lnTo>
                      <a:pt x="52" y="16"/>
                    </a:lnTo>
                    <a:lnTo>
                      <a:pt x="69" y="7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101" y="0"/>
                    </a:lnTo>
                    <a:lnTo>
                      <a:pt x="115" y="0"/>
                    </a:lnTo>
                    <a:lnTo>
                      <a:pt x="129" y="2"/>
                    </a:lnTo>
                    <a:lnTo>
                      <a:pt x="142" y="6"/>
                    </a:lnTo>
                    <a:lnTo>
                      <a:pt x="154" y="11"/>
                    </a:lnTo>
                    <a:lnTo>
                      <a:pt x="166" y="18"/>
                    </a:lnTo>
                    <a:lnTo>
                      <a:pt x="177" y="26"/>
                    </a:lnTo>
                    <a:lnTo>
                      <a:pt x="187" y="35"/>
                    </a:lnTo>
                    <a:lnTo>
                      <a:pt x="195" y="45"/>
                    </a:lnTo>
                    <a:lnTo>
                      <a:pt x="202" y="57"/>
                    </a:lnTo>
                    <a:lnTo>
                      <a:pt x="207" y="69"/>
                    </a:lnTo>
                    <a:lnTo>
                      <a:pt x="213" y="81"/>
                    </a:lnTo>
                    <a:lnTo>
                      <a:pt x="214" y="95"/>
                    </a:lnTo>
                    <a:lnTo>
                      <a:pt x="216" y="108"/>
                    </a:lnTo>
                    <a:lnTo>
                      <a:pt x="214" y="124"/>
                    </a:lnTo>
                    <a:lnTo>
                      <a:pt x="213" y="138"/>
                    </a:lnTo>
                    <a:lnTo>
                      <a:pt x="213" y="138"/>
                    </a:lnTo>
                    <a:lnTo>
                      <a:pt x="206" y="153"/>
                    </a:lnTo>
                    <a:lnTo>
                      <a:pt x="199" y="167"/>
                    </a:lnTo>
                    <a:lnTo>
                      <a:pt x="190" y="179"/>
                    </a:lnTo>
                    <a:lnTo>
                      <a:pt x="180" y="189"/>
                    </a:lnTo>
                    <a:lnTo>
                      <a:pt x="170" y="198"/>
                    </a:lnTo>
                    <a:lnTo>
                      <a:pt x="156" y="204"/>
                    </a:lnTo>
                    <a:lnTo>
                      <a:pt x="142" y="211"/>
                    </a:lnTo>
                    <a:lnTo>
                      <a:pt x="127" y="215"/>
                    </a:lnTo>
                    <a:lnTo>
                      <a:pt x="127" y="215"/>
                    </a:lnTo>
                    <a:lnTo>
                      <a:pt x="118" y="218"/>
                    </a:lnTo>
                    <a:lnTo>
                      <a:pt x="98" y="21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" name="Text Placeholder 19"/>
          <p:cNvSpPr txBox="1">
            <a:spLocks/>
          </p:cNvSpPr>
          <p:nvPr/>
        </p:nvSpPr>
        <p:spPr>
          <a:xfrm>
            <a:off x="7631075" y="4324776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4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solidFill>
                  <a:schemeClr val="tx2"/>
                </a:solidFill>
              </a:rPr>
              <a:t>29%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32" name="Text Placeholder 22"/>
          <p:cNvSpPr txBox="1">
            <a:spLocks/>
          </p:cNvSpPr>
          <p:nvPr/>
        </p:nvSpPr>
        <p:spPr>
          <a:xfrm>
            <a:off x="7069640" y="5071353"/>
            <a:ext cx="2410968" cy="86177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non-grocery shopping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207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7361291" y="2377848"/>
            <a:ext cx="1827667" cy="1827667"/>
            <a:chOff x="7106818" y="2386557"/>
            <a:chExt cx="1827667" cy="1827667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6818" y="2386557"/>
              <a:ext cx="1827667" cy="1827667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7244037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Freeform 17"/>
            <p:cNvSpPr>
              <a:spLocks noEditPoints="1"/>
            </p:cNvSpPr>
            <p:nvPr/>
          </p:nvSpPr>
          <p:spPr bwMode="auto">
            <a:xfrm>
              <a:off x="7628629" y="2707172"/>
              <a:ext cx="759726" cy="1119455"/>
            </a:xfrm>
            <a:custGeom>
              <a:avLst/>
              <a:gdLst>
                <a:gd name="T0" fmla="*/ 374 w 1133"/>
                <a:gd name="T1" fmla="*/ 177 h 1668"/>
                <a:gd name="T2" fmla="*/ 381 w 1133"/>
                <a:gd name="T3" fmla="*/ 141 h 1668"/>
                <a:gd name="T4" fmla="*/ 393 w 1133"/>
                <a:gd name="T5" fmla="*/ 108 h 1668"/>
                <a:gd name="T6" fmla="*/ 412 w 1133"/>
                <a:gd name="T7" fmla="*/ 77 h 1668"/>
                <a:gd name="T8" fmla="*/ 436 w 1133"/>
                <a:gd name="T9" fmla="*/ 51 h 1668"/>
                <a:gd name="T10" fmla="*/ 463 w 1133"/>
                <a:gd name="T11" fmla="*/ 29 h 1668"/>
                <a:gd name="T12" fmla="*/ 496 w 1133"/>
                <a:gd name="T13" fmla="*/ 14 h 1668"/>
                <a:gd name="T14" fmla="*/ 530 w 1133"/>
                <a:gd name="T15" fmla="*/ 3 h 1668"/>
                <a:gd name="T16" fmla="*/ 566 w 1133"/>
                <a:gd name="T17" fmla="*/ 0 h 1668"/>
                <a:gd name="T18" fmla="*/ 585 w 1133"/>
                <a:gd name="T19" fmla="*/ 0 h 1668"/>
                <a:gd name="T20" fmla="*/ 621 w 1133"/>
                <a:gd name="T21" fmla="*/ 7 h 1668"/>
                <a:gd name="T22" fmla="*/ 655 w 1133"/>
                <a:gd name="T23" fmla="*/ 21 h 1668"/>
                <a:gd name="T24" fmla="*/ 684 w 1133"/>
                <a:gd name="T25" fmla="*/ 39 h 1668"/>
                <a:gd name="T26" fmla="*/ 710 w 1133"/>
                <a:gd name="T27" fmla="*/ 63 h 1668"/>
                <a:gd name="T28" fmla="*/ 730 w 1133"/>
                <a:gd name="T29" fmla="*/ 91 h 1668"/>
                <a:gd name="T30" fmla="*/ 747 w 1133"/>
                <a:gd name="T31" fmla="*/ 123 h 1668"/>
                <a:gd name="T32" fmla="*/ 756 w 1133"/>
                <a:gd name="T33" fmla="*/ 159 h 1668"/>
                <a:gd name="T34" fmla="*/ 771 w 1133"/>
                <a:gd name="T35" fmla="*/ 387 h 1668"/>
                <a:gd name="T36" fmla="*/ 669 w 1133"/>
                <a:gd name="T37" fmla="*/ 183 h 1668"/>
                <a:gd name="T38" fmla="*/ 665 w 1133"/>
                <a:gd name="T39" fmla="*/ 165 h 1668"/>
                <a:gd name="T40" fmla="*/ 648 w 1133"/>
                <a:gd name="T41" fmla="*/ 132 h 1668"/>
                <a:gd name="T42" fmla="*/ 621 w 1133"/>
                <a:gd name="T43" fmla="*/ 106 h 1668"/>
                <a:gd name="T44" fmla="*/ 586 w 1133"/>
                <a:gd name="T45" fmla="*/ 93 h 1668"/>
                <a:gd name="T46" fmla="*/ 566 w 1133"/>
                <a:gd name="T47" fmla="*/ 91 h 1668"/>
                <a:gd name="T48" fmla="*/ 528 w 1133"/>
                <a:gd name="T49" fmla="*/ 98 h 1668"/>
                <a:gd name="T50" fmla="*/ 497 w 1133"/>
                <a:gd name="T51" fmla="*/ 118 h 1668"/>
                <a:gd name="T52" fmla="*/ 475 w 1133"/>
                <a:gd name="T53" fmla="*/ 147 h 1668"/>
                <a:gd name="T54" fmla="*/ 465 w 1133"/>
                <a:gd name="T55" fmla="*/ 183 h 1668"/>
                <a:gd name="T56" fmla="*/ 362 w 1133"/>
                <a:gd name="T57" fmla="*/ 387 h 1668"/>
                <a:gd name="T58" fmla="*/ 1133 w 1133"/>
                <a:gd name="T59" fmla="*/ 1668 h 1668"/>
                <a:gd name="T60" fmla="*/ 0 w 1133"/>
                <a:gd name="T61" fmla="*/ 478 h 1668"/>
                <a:gd name="T62" fmla="*/ 1133 w 1133"/>
                <a:gd name="T63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3" h="1668">
                  <a:moveTo>
                    <a:pt x="374" y="177"/>
                  </a:moveTo>
                  <a:lnTo>
                    <a:pt x="374" y="177"/>
                  </a:lnTo>
                  <a:lnTo>
                    <a:pt x="377" y="158"/>
                  </a:lnTo>
                  <a:lnTo>
                    <a:pt x="381" y="141"/>
                  </a:lnTo>
                  <a:lnTo>
                    <a:pt x="386" y="123"/>
                  </a:lnTo>
                  <a:lnTo>
                    <a:pt x="393" y="108"/>
                  </a:lnTo>
                  <a:lnTo>
                    <a:pt x="401" y="91"/>
                  </a:lnTo>
                  <a:lnTo>
                    <a:pt x="412" y="77"/>
                  </a:lnTo>
                  <a:lnTo>
                    <a:pt x="424" y="63"/>
                  </a:lnTo>
                  <a:lnTo>
                    <a:pt x="436" y="51"/>
                  </a:lnTo>
                  <a:lnTo>
                    <a:pt x="449" y="39"/>
                  </a:lnTo>
                  <a:lnTo>
                    <a:pt x="463" y="29"/>
                  </a:lnTo>
                  <a:lnTo>
                    <a:pt x="478" y="21"/>
                  </a:lnTo>
                  <a:lnTo>
                    <a:pt x="496" y="14"/>
                  </a:lnTo>
                  <a:lnTo>
                    <a:pt x="513" y="7"/>
                  </a:lnTo>
                  <a:lnTo>
                    <a:pt x="530" y="3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85" y="0"/>
                  </a:lnTo>
                  <a:lnTo>
                    <a:pt x="604" y="3"/>
                  </a:lnTo>
                  <a:lnTo>
                    <a:pt x="621" y="7"/>
                  </a:lnTo>
                  <a:lnTo>
                    <a:pt x="638" y="14"/>
                  </a:lnTo>
                  <a:lnTo>
                    <a:pt x="655" y="21"/>
                  </a:lnTo>
                  <a:lnTo>
                    <a:pt x="670" y="29"/>
                  </a:lnTo>
                  <a:lnTo>
                    <a:pt x="684" y="39"/>
                  </a:lnTo>
                  <a:lnTo>
                    <a:pt x="698" y="51"/>
                  </a:lnTo>
                  <a:lnTo>
                    <a:pt x="710" y="63"/>
                  </a:lnTo>
                  <a:lnTo>
                    <a:pt x="722" y="77"/>
                  </a:lnTo>
                  <a:lnTo>
                    <a:pt x="730" y="91"/>
                  </a:lnTo>
                  <a:lnTo>
                    <a:pt x="739" y="108"/>
                  </a:lnTo>
                  <a:lnTo>
                    <a:pt x="747" y="123"/>
                  </a:lnTo>
                  <a:lnTo>
                    <a:pt x="753" y="141"/>
                  </a:lnTo>
                  <a:lnTo>
                    <a:pt x="756" y="159"/>
                  </a:lnTo>
                  <a:lnTo>
                    <a:pt x="759" y="177"/>
                  </a:lnTo>
                  <a:lnTo>
                    <a:pt x="771" y="387"/>
                  </a:lnTo>
                  <a:lnTo>
                    <a:pt x="681" y="387"/>
                  </a:lnTo>
                  <a:lnTo>
                    <a:pt x="669" y="183"/>
                  </a:lnTo>
                  <a:lnTo>
                    <a:pt x="669" y="183"/>
                  </a:lnTo>
                  <a:lnTo>
                    <a:pt x="665" y="165"/>
                  </a:lnTo>
                  <a:lnTo>
                    <a:pt x="658" y="147"/>
                  </a:lnTo>
                  <a:lnTo>
                    <a:pt x="648" y="132"/>
                  </a:lnTo>
                  <a:lnTo>
                    <a:pt x="636" y="118"/>
                  </a:lnTo>
                  <a:lnTo>
                    <a:pt x="621" y="106"/>
                  </a:lnTo>
                  <a:lnTo>
                    <a:pt x="604" y="98"/>
                  </a:lnTo>
                  <a:lnTo>
                    <a:pt x="586" y="93"/>
                  </a:lnTo>
                  <a:lnTo>
                    <a:pt x="566" y="91"/>
                  </a:lnTo>
                  <a:lnTo>
                    <a:pt x="566" y="91"/>
                  </a:lnTo>
                  <a:lnTo>
                    <a:pt x="547" y="93"/>
                  </a:lnTo>
                  <a:lnTo>
                    <a:pt x="528" y="98"/>
                  </a:lnTo>
                  <a:lnTo>
                    <a:pt x="513" y="106"/>
                  </a:lnTo>
                  <a:lnTo>
                    <a:pt x="497" y="118"/>
                  </a:lnTo>
                  <a:lnTo>
                    <a:pt x="485" y="132"/>
                  </a:lnTo>
                  <a:lnTo>
                    <a:pt x="475" y="147"/>
                  </a:lnTo>
                  <a:lnTo>
                    <a:pt x="468" y="165"/>
                  </a:lnTo>
                  <a:lnTo>
                    <a:pt x="465" y="183"/>
                  </a:lnTo>
                  <a:lnTo>
                    <a:pt x="453" y="387"/>
                  </a:lnTo>
                  <a:lnTo>
                    <a:pt x="362" y="387"/>
                  </a:lnTo>
                  <a:lnTo>
                    <a:pt x="374" y="177"/>
                  </a:lnTo>
                  <a:close/>
                  <a:moveTo>
                    <a:pt x="1133" y="1668"/>
                  </a:moveTo>
                  <a:lnTo>
                    <a:pt x="0" y="1668"/>
                  </a:lnTo>
                  <a:lnTo>
                    <a:pt x="0" y="478"/>
                  </a:lnTo>
                  <a:lnTo>
                    <a:pt x="1133" y="478"/>
                  </a:lnTo>
                  <a:lnTo>
                    <a:pt x="1133" y="16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" name="Text Placeholder 24"/>
          <p:cNvSpPr>
            <a:spLocks noGrp="1"/>
          </p:cNvSpPr>
          <p:nvPr/>
        </p:nvSpPr>
        <p:spPr>
          <a:xfrm>
            <a:off x="4388005" y="7045375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923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844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2769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3691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4613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5535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6458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7378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1" dirty="0">
                <a:solidFill>
                  <a:schemeClr val="bg1"/>
                </a:solidFill>
              </a:rPr>
              <a:t>Source: </a:t>
            </a:r>
            <a:r>
              <a:rPr lang="en-US" sz="800" dirty="0">
                <a:solidFill>
                  <a:schemeClr val="bg1"/>
                </a:solidFill>
              </a:rPr>
              <a:t>FAME </a:t>
            </a:r>
            <a:r>
              <a:rPr lang="en-US" sz="800" dirty="0" smtClean="0">
                <a:solidFill>
                  <a:schemeClr val="bg1"/>
                </a:solidFill>
              </a:rPr>
              <a:t>2016. </a:t>
            </a:r>
            <a:r>
              <a:rPr lang="en-US" sz="800" dirty="0">
                <a:solidFill>
                  <a:schemeClr val="bg1"/>
                </a:solidFill>
              </a:rPr>
              <a:t>Activities do immediately after / on same day as cinema visit</a:t>
            </a:r>
          </a:p>
        </p:txBody>
      </p:sp>
    </p:spTree>
    <p:extLst>
      <p:ext uri="{BB962C8B-B14F-4D97-AF65-F5344CB8AC3E}">
        <p14:creationId xmlns:p14="http://schemas.microsoft.com/office/powerpoint/2010/main" val="71439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914" y="237464"/>
            <a:ext cx="9308541" cy="409568"/>
          </a:xfrm>
        </p:spPr>
        <p:txBody>
          <a:bodyPr/>
          <a:lstStyle/>
          <a:p>
            <a:r>
              <a:rPr lang="en-US" dirty="0"/>
              <a:t>KEY CATEGORY INSIGHTS</a:t>
            </a:r>
            <a:endParaRPr lang="en-GB" dirty="0"/>
          </a:p>
        </p:txBody>
      </p:sp>
      <p:grpSp>
        <p:nvGrpSpPr>
          <p:cNvPr id="26" name="Group 25"/>
          <p:cNvGrpSpPr/>
          <p:nvPr/>
        </p:nvGrpSpPr>
        <p:grpSpPr>
          <a:xfrm>
            <a:off x="5167626" y="1024214"/>
            <a:ext cx="3738372" cy="2261530"/>
            <a:chOff x="5158740" y="1289390"/>
            <a:chExt cx="3738372" cy="2261530"/>
          </a:xfrm>
        </p:grpSpPr>
        <p:sp>
          <p:nvSpPr>
            <p:cNvPr id="27" name="Snip Diagonal Corner Rectangle 26"/>
            <p:cNvSpPr/>
            <p:nvPr userDrawn="1"/>
          </p:nvSpPr>
          <p:spPr>
            <a:xfrm flipH="1">
              <a:off x="5158740" y="1567134"/>
              <a:ext cx="3738372" cy="1983786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Oval 27"/>
            <p:cNvSpPr/>
            <p:nvPr userDrawn="1"/>
          </p:nvSpPr>
          <p:spPr>
            <a:xfrm>
              <a:off x="8190944" y="1289390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33400" y="1208096"/>
            <a:ext cx="4404360" cy="2077647"/>
            <a:chOff x="533400" y="2116137"/>
            <a:chExt cx="4404360" cy="2077647"/>
          </a:xfrm>
        </p:grpSpPr>
        <p:sp>
          <p:nvSpPr>
            <p:cNvPr id="30" name="Snip Diagonal Corner Rectangle 29"/>
            <p:cNvSpPr/>
            <p:nvPr userDrawn="1"/>
          </p:nvSpPr>
          <p:spPr>
            <a:xfrm flipH="1" flipV="1">
              <a:off x="533400" y="2374018"/>
              <a:ext cx="4404360" cy="1819766"/>
            </a:xfrm>
            <a:prstGeom prst="snip2DiagRect">
              <a:avLst>
                <a:gd name="adj1" fmla="val 0"/>
                <a:gd name="adj2" fmla="val 12100"/>
              </a:avLst>
            </a:prstGeom>
            <a:solidFill>
              <a:schemeClr val="tx2"/>
            </a:solidFill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3923745" y="211613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120773" y="3499103"/>
            <a:ext cx="3816987" cy="2070557"/>
            <a:chOff x="2326005" y="3764279"/>
            <a:chExt cx="3816987" cy="2070557"/>
          </a:xfrm>
        </p:grpSpPr>
        <p:sp>
          <p:nvSpPr>
            <p:cNvPr id="33" name="Snip Diagonal Corner Rectangle 32"/>
            <p:cNvSpPr/>
            <p:nvPr userDrawn="1"/>
          </p:nvSpPr>
          <p:spPr>
            <a:xfrm flipH="1">
              <a:off x="2575560" y="3764279"/>
              <a:ext cx="3567432" cy="2070557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rgbClr val="FB3449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909185" y="3499104"/>
            <a:ext cx="4379595" cy="2705100"/>
            <a:chOff x="4909185" y="3764280"/>
            <a:chExt cx="4379595" cy="2705100"/>
          </a:xfrm>
        </p:grpSpPr>
        <p:sp>
          <p:nvSpPr>
            <p:cNvPr id="36" name="Snip Diagonal Corner Rectangle 35"/>
            <p:cNvSpPr/>
            <p:nvPr userDrawn="1"/>
          </p:nvSpPr>
          <p:spPr>
            <a:xfrm flipH="1" flipV="1">
              <a:off x="5167626" y="3764280"/>
              <a:ext cx="4121154" cy="2705100"/>
            </a:xfrm>
            <a:prstGeom prst="snip2DiagRect">
              <a:avLst>
                <a:gd name="adj1" fmla="val 0"/>
                <a:gd name="adj2" fmla="val 4618"/>
              </a:avLst>
            </a:prstGeom>
            <a:solidFill>
              <a:schemeClr val="tx2"/>
            </a:solidFill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7" name="Oval 36"/>
            <p:cNvSpPr/>
            <p:nvPr userDrawn="1"/>
          </p:nvSpPr>
          <p:spPr>
            <a:xfrm>
              <a:off x="4909185" y="573658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rgbClr val="FB3449"/>
                </a:solidFill>
              </a:endParaRPr>
            </a:p>
          </p:txBody>
        </p:sp>
      </p:grpSp>
      <p:sp>
        <p:nvSpPr>
          <p:cNvPr id="38" name="Text Placeholder 2"/>
          <p:cNvSpPr txBox="1">
            <a:spLocks/>
          </p:cNvSpPr>
          <p:nvPr/>
        </p:nvSpPr>
        <p:spPr>
          <a:xfrm>
            <a:off x="5765796" y="1301245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8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600" dirty="0" smtClean="0">
                <a:solidFill>
                  <a:schemeClr val="tx2"/>
                </a:solidFill>
              </a:rPr>
              <a:t>73%</a:t>
            </a: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67626" y="2276318"/>
            <a:ext cx="3848100" cy="9387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 smtClean="0">
                <a:solidFill>
                  <a:schemeClr val="tx2"/>
                </a:solidFill>
              </a:rPr>
              <a:t>AGREE THEY ARE MORE AWARE OF PERSONAL FINANCE THAN I </a:t>
            </a:r>
          </a:p>
          <a:p>
            <a:r>
              <a:rPr lang="en-GB" b="0" dirty="0" smtClean="0">
                <a:solidFill>
                  <a:schemeClr val="tx2"/>
                </a:solidFill>
              </a:rPr>
              <a:t>USED TO BE</a:t>
            </a:r>
            <a:endParaRPr lang="en-GB" b="0" dirty="0">
              <a:solidFill>
                <a:schemeClr val="tx2"/>
              </a:solidFill>
            </a:endParaRP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5962062" y="3786255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66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FFFFF"/>
                </a:solidFill>
              </a:rPr>
              <a:t>59%</a:t>
            </a: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5454015" y="4734132"/>
            <a:ext cx="3667855" cy="9387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>
                <a:solidFill>
                  <a:srgbClr val="FFFFFF"/>
                </a:solidFill>
              </a:rPr>
              <a:t>AGREE THEY ARE ALWAYS LOOKING FOR NEW IDEAS TO IMPROVE THEIR HOME</a:t>
            </a: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01980" y="2095704"/>
            <a:ext cx="4221479" cy="122084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6000" dirty="0" smtClean="0"/>
              <a:t>54%</a:t>
            </a:r>
            <a:r>
              <a:rPr lang="pt-BR" dirty="0" smtClean="0"/>
              <a:t> </a:t>
            </a:r>
            <a:endParaRPr lang="pt-BR" dirty="0"/>
          </a:p>
          <a:p>
            <a:r>
              <a:rPr lang="pt-BR" b="0" dirty="0" smtClean="0"/>
              <a:t>AGREE THAT THEIR FAMILY SPENDS A LOT ON FOOD</a:t>
            </a:r>
            <a:endParaRPr lang="pt-BR" b="0" dirty="0"/>
          </a:p>
          <a:p>
            <a:endParaRPr lang="en-GB" dirty="0" smtClean="0"/>
          </a:p>
        </p:txBody>
      </p:sp>
      <p:sp>
        <p:nvSpPr>
          <p:cNvPr id="49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05927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sz="800" dirty="0">
                <a:solidFill>
                  <a:schemeClr val="bg1"/>
                </a:solidFill>
              </a:rPr>
              <a:t>Source: </a:t>
            </a:r>
            <a:r>
              <a:rPr lang="en-GB" sz="800" b="0" dirty="0">
                <a:solidFill>
                  <a:schemeClr val="bg1"/>
                </a:solidFill>
              </a:rPr>
              <a:t>GB TGI Q1 </a:t>
            </a:r>
            <a:r>
              <a:rPr lang="en-GB" sz="800" b="0" dirty="0" smtClean="0">
                <a:solidFill>
                  <a:schemeClr val="bg1"/>
                </a:solidFill>
              </a:rPr>
              <a:t>2017. </a:t>
            </a:r>
            <a:r>
              <a:rPr lang="en-GB" sz="800" dirty="0" smtClean="0">
                <a:solidFill>
                  <a:schemeClr val="bg1"/>
                </a:solidFill>
              </a:rPr>
              <a:t>Base</a:t>
            </a:r>
            <a:r>
              <a:rPr lang="en-GB" sz="800" dirty="0">
                <a:solidFill>
                  <a:schemeClr val="bg1"/>
                </a:solidFill>
              </a:rPr>
              <a:t>: </a:t>
            </a:r>
            <a:r>
              <a:rPr lang="en-GB" sz="800" b="0" dirty="0" smtClean="0">
                <a:solidFill>
                  <a:schemeClr val="bg1"/>
                </a:solidFill>
              </a:rPr>
              <a:t>Main shopper with children who are cinemagoers</a:t>
            </a:r>
          </a:p>
          <a:p>
            <a:pPr algn="r"/>
            <a:r>
              <a:rPr lang="en-GB" sz="800" dirty="0" smtClean="0">
                <a:solidFill>
                  <a:schemeClr val="bg1"/>
                </a:solidFill>
              </a:rPr>
              <a:t>1. </a:t>
            </a:r>
            <a:r>
              <a:rPr lang="en-GB" sz="800" b="0" dirty="0" smtClean="0">
                <a:solidFill>
                  <a:schemeClr val="bg1"/>
                </a:solidFill>
              </a:rPr>
              <a:t>Index vs. average UK adult: 143 </a:t>
            </a:r>
            <a:r>
              <a:rPr lang="en-GB" sz="800" dirty="0" smtClean="0">
                <a:solidFill>
                  <a:schemeClr val="bg1"/>
                </a:solidFill>
              </a:rPr>
              <a:t>2. </a:t>
            </a:r>
            <a:r>
              <a:rPr lang="en-GB" sz="800" b="0" dirty="0" smtClean="0">
                <a:solidFill>
                  <a:schemeClr val="bg1"/>
                </a:solidFill>
              </a:rPr>
              <a:t>Index 111 </a:t>
            </a:r>
            <a:r>
              <a:rPr lang="en-GB" sz="800" dirty="0" smtClean="0">
                <a:solidFill>
                  <a:schemeClr val="bg1"/>
                </a:solidFill>
              </a:rPr>
              <a:t>3. </a:t>
            </a:r>
            <a:r>
              <a:rPr lang="en-GB" sz="800" b="0" dirty="0" smtClean="0">
                <a:solidFill>
                  <a:schemeClr val="bg1"/>
                </a:solidFill>
              </a:rPr>
              <a:t>Index 158 </a:t>
            </a:r>
            <a:r>
              <a:rPr lang="en-GB" sz="800" dirty="0" smtClean="0">
                <a:solidFill>
                  <a:schemeClr val="bg1"/>
                </a:solidFill>
              </a:rPr>
              <a:t>4. </a:t>
            </a:r>
            <a:r>
              <a:rPr lang="en-GB" sz="800" b="0" dirty="0" smtClean="0">
                <a:solidFill>
                  <a:schemeClr val="bg1"/>
                </a:solidFill>
              </a:rPr>
              <a:t>Index 145</a:t>
            </a:r>
            <a:endParaRPr lang="en-GB" sz="800" b="0" dirty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idx="4294967295"/>
          </p:nvPr>
        </p:nvSpPr>
        <p:spPr>
          <a:xfrm>
            <a:off x="2458583" y="3550834"/>
            <a:ext cx="1614684" cy="1015663"/>
          </a:xfrm>
          <a:prstGeom prst="rect">
            <a:avLst/>
          </a:prstGeom>
        </p:spPr>
        <p:txBody>
          <a:bodyPr/>
          <a:lstStyle/>
          <a:p>
            <a:r>
              <a:rPr lang="en-US" sz="6000" dirty="0" smtClean="0">
                <a:latin typeface="Impact" charset="0"/>
                <a:ea typeface="Impact" charset="0"/>
                <a:cs typeface="Impact" charset="0"/>
              </a:rPr>
              <a:t>33%</a:t>
            </a:r>
            <a:endParaRPr lang="en-US" sz="6000" dirty="0"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52" name="Text Placeholder 14"/>
          <p:cNvSpPr>
            <a:spLocks noGrp="1"/>
          </p:cNvSpPr>
          <p:nvPr>
            <p:ph type="body" idx="4294967295"/>
          </p:nvPr>
        </p:nvSpPr>
        <p:spPr>
          <a:xfrm>
            <a:off x="1370329" y="4452152"/>
            <a:ext cx="3453130" cy="351828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2100" b="0" dirty="0" smtClean="0">
                <a:latin typeface="Impact" charset="0"/>
                <a:ea typeface="Impact" charset="0"/>
                <a:cs typeface="Impact" charset="0"/>
              </a:rPr>
              <a:t>AGREE THAT THEY WHEN THEY SEE A NEW BRAND THEY OFTEN BUY IT TO SEE WHAT IT’S LIKE </a:t>
            </a:r>
            <a:endParaRPr lang="en-US" sz="2100" b="0" dirty="0"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57" name="Freeform 9"/>
          <p:cNvSpPr>
            <a:spLocks/>
          </p:cNvSpPr>
          <p:nvPr/>
        </p:nvSpPr>
        <p:spPr bwMode="auto">
          <a:xfrm>
            <a:off x="8371724" y="1134407"/>
            <a:ext cx="155674" cy="259060"/>
          </a:xfrm>
          <a:custGeom>
            <a:avLst/>
            <a:gdLst>
              <a:gd name="T0" fmla="*/ 314 w 524"/>
              <a:gd name="T1" fmla="*/ 126 h 872"/>
              <a:gd name="T2" fmla="*/ 282 w 524"/>
              <a:gd name="T3" fmla="*/ 134 h 872"/>
              <a:gd name="T4" fmla="*/ 262 w 524"/>
              <a:gd name="T5" fmla="*/ 154 h 872"/>
              <a:gd name="T6" fmla="*/ 250 w 524"/>
              <a:gd name="T7" fmla="*/ 184 h 872"/>
              <a:gd name="T8" fmla="*/ 246 w 524"/>
              <a:gd name="T9" fmla="*/ 222 h 872"/>
              <a:gd name="T10" fmla="*/ 392 w 524"/>
              <a:gd name="T11" fmla="*/ 336 h 872"/>
              <a:gd name="T12" fmla="*/ 246 w 524"/>
              <a:gd name="T13" fmla="*/ 462 h 872"/>
              <a:gd name="T14" fmla="*/ 518 w 524"/>
              <a:gd name="T15" fmla="*/ 746 h 872"/>
              <a:gd name="T16" fmla="*/ 4 w 524"/>
              <a:gd name="T17" fmla="*/ 872 h 872"/>
              <a:gd name="T18" fmla="*/ 72 w 524"/>
              <a:gd name="T19" fmla="*/ 746 h 872"/>
              <a:gd name="T20" fmla="*/ 0 w 524"/>
              <a:gd name="T21" fmla="*/ 462 h 872"/>
              <a:gd name="T22" fmla="*/ 72 w 524"/>
              <a:gd name="T23" fmla="*/ 336 h 872"/>
              <a:gd name="T24" fmla="*/ 72 w 524"/>
              <a:gd name="T25" fmla="*/ 230 h 872"/>
              <a:gd name="T26" fmla="*/ 76 w 524"/>
              <a:gd name="T27" fmla="*/ 176 h 872"/>
              <a:gd name="T28" fmla="*/ 86 w 524"/>
              <a:gd name="T29" fmla="*/ 130 h 872"/>
              <a:gd name="T30" fmla="*/ 102 w 524"/>
              <a:gd name="T31" fmla="*/ 90 h 872"/>
              <a:gd name="T32" fmla="*/ 128 w 524"/>
              <a:gd name="T33" fmla="*/ 58 h 872"/>
              <a:gd name="T34" fmla="*/ 158 w 524"/>
              <a:gd name="T35" fmla="*/ 32 h 872"/>
              <a:gd name="T36" fmla="*/ 198 w 524"/>
              <a:gd name="T37" fmla="*/ 14 h 872"/>
              <a:gd name="T38" fmla="*/ 244 w 524"/>
              <a:gd name="T39" fmla="*/ 4 h 872"/>
              <a:gd name="T40" fmla="*/ 298 w 524"/>
              <a:gd name="T41" fmla="*/ 0 h 872"/>
              <a:gd name="T42" fmla="*/ 328 w 524"/>
              <a:gd name="T43" fmla="*/ 0 h 872"/>
              <a:gd name="T44" fmla="*/ 380 w 524"/>
              <a:gd name="T45" fmla="*/ 8 h 872"/>
              <a:gd name="T46" fmla="*/ 424 w 524"/>
              <a:gd name="T47" fmla="*/ 22 h 872"/>
              <a:gd name="T48" fmla="*/ 458 w 524"/>
              <a:gd name="T49" fmla="*/ 44 h 872"/>
              <a:gd name="T50" fmla="*/ 486 w 524"/>
              <a:gd name="T51" fmla="*/ 72 h 872"/>
              <a:gd name="T52" fmla="*/ 504 w 524"/>
              <a:gd name="T53" fmla="*/ 106 h 872"/>
              <a:gd name="T54" fmla="*/ 518 w 524"/>
              <a:gd name="T55" fmla="*/ 148 h 872"/>
              <a:gd name="T56" fmla="*/ 524 w 524"/>
              <a:gd name="T57" fmla="*/ 196 h 872"/>
              <a:gd name="T58" fmla="*/ 378 w 524"/>
              <a:gd name="T59" fmla="*/ 224 h 872"/>
              <a:gd name="T60" fmla="*/ 378 w 524"/>
              <a:gd name="T61" fmla="*/ 206 h 872"/>
              <a:gd name="T62" fmla="*/ 370 w 524"/>
              <a:gd name="T63" fmla="*/ 172 h 872"/>
              <a:gd name="T64" fmla="*/ 356 w 524"/>
              <a:gd name="T65" fmla="*/ 144 h 872"/>
              <a:gd name="T66" fmla="*/ 330 w 524"/>
              <a:gd name="T67" fmla="*/ 128 h 872"/>
              <a:gd name="T68" fmla="*/ 314 w 524"/>
              <a:gd name="T69" fmla="*/ 126 h 8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24" h="872">
                <a:moveTo>
                  <a:pt x="314" y="126"/>
                </a:moveTo>
                <a:lnTo>
                  <a:pt x="314" y="126"/>
                </a:lnTo>
                <a:lnTo>
                  <a:pt x="296" y="128"/>
                </a:lnTo>
                <a:lnTo>
                  <a:pt x="282" y="134"/>
                </a:lnTo>
                <a:lnTo>
                  <a:pt x="270" y="142"/>
                </a:lnTo>
                <a:lnTo>
                  <a:pt x="262" y="154"/>
                </a:lnTo>
                <a:lnTo>
                  <a:pt x="254" y="168"/>
                </a:lnTo>
                <a:lnTo>
                  <a:pt x="250" y="184"/>
                </a:lnTo>
                <a:lnTo>
                  <a:pt x="246" y="202"/>
                </a:lnTo>
                <a:lnTo>
                  <a:pt x="246" y="222"/>
                </a:lnTo>
                <a:lnTo>
                  <a:pt x="246" y="336"/>
                </a:lnTo>
                <a:lnTo>
                  <a:pt x="392" y="336"/>
                </a:lnTo>
                <a:lnTo>
                  <a:pt x="392" y="462"/>
                </a:lnTo>
                <a:lnTo>
                  <a:pt x="246" y="462"/>
                </a:lnTo>
                <a:lnTo>
                  <a:pt x="246" y="746"/>
                </a:lnTo>
                <a:lnTo>
                  <a:pt x="518" y="746"/>
                </a:lnTo>
                <a:lnTo>
                  <a:pt x="518" y="872"/>
                </a:lnTo>
                <a:lnTo>
                  <a:pt x="4" y="872"/>
                </a:lnTo>
                <a:lnTo>
                  <a:pt x="4" y="746"/>
                </a:lnTo>
                <a:lnTo>
                  <a:pt x="72" y="746"/>
                </a:lnTo>
                <a:lnTo>
                  <a:pt x="72" y="462"/>
                </a:lnTo>
                <a:lnTo>
                  <a:pt x="0" y="462"/>
                </a:lnTo>
                <a:lnTo>
                  <a:pt x="0" y="336"/>
                </a:lnTo>
                <a:lnTo>
                  <a:pt x="72" y="336"/>
                </a:lnTo>
                <a:lnTo>
                  <a:pt x="72" y="230"/>
                </a:lnTo>
                <a:lnTo>
                  <a:pt x="72" y="230"/>
                </a:lnTo>
                <a:lnTo>
                  <a:pt x="72" y="202"/>
                </a:lnTo>
                <a:lnTo>
                  <a:pt x="76" y="176"/>
                </a:lnTo>
                <a:lnTo>
                  <a:pt x="80" y="152"/>
                </a:lnTo>
                <a:lnTo>
                  <a:pt x="86" y="130"/>
                </a:lnTo>
                <a:lnTo>
                  <a:pt x="94" y="110"/>
                </a:lnTo>
                <a:lnTo>
                  <a:pt x="102" y="90"/>
                </a:lnTo>
                <a:lnTo>
                  <a:pt x="114" y="74"/>
                </a:lnTo>
                <a:lnTo>
                  <a:pt x="128" y="58"/>
                </a:lnTo>
                <a:lnTo>
                  <a:pt x="142" y="44"/>
                </a:lnTo>
                <a:lnTo>
                  <a:pt x="158" y="32"/>
                </a:lnTo>
                <a:lnTo>
                  <a:pt x="178" y="22"/>
                </a:lnTo>
                <a:lnTo>
                  <a:pt x="198" y="14"/>
                </a:lnTo>
                <a:lnTo>
                  <a:pt x="220" y="8"/>
                </a:lnTo>
                <a:lnTo>
                  <a:pt x="244" y="4"/>
                </a:lnTo>
                <a:lnTo>
                  <a:pt x="270" y="0"/>
                </a:lnTo>
                <a:lnTo>
                  <a:pt x="298" y="0"/>
                </a:lnTo>
                <a:lnTo>
                  <a:pt x="298" y="0"/>
                </a:lnTo>
                <a:lnTo>
                  <a:pt x="328" y="0"/>
                </a:lnTo>
                <a:lnTo>
                  <a:pt x="354" y="4"/>
                </a:lnTo>
                <a:lnTo>
                  <a:pt x="380" y="8"/>
                </a:lnTo>
                <a:lnTo>
                  <a:pt x="402" y="14"/>
                </a:lnTo>
                <a:lnTo>
                  <a:pt x="424" y="22"/>
                </a:lnTo>
                <a:lnTo>
                  <a:pt x="442" y="32"/>
                </a:lnTo>
                <a:lnTo>
                  <a:pt x="458" y="44"/>
                </a:lnTo>
                <a:lnTo>
                  <a:pt x="472" y="56"/>
                </a:lnTo>
                <a:lnTo>
                  <a:pt x="486" y="72"/>
                </a:lnTo>
                <a:lnTo>
                  <a:pt x="496" y="88"/>
                </a:lnTo>
                <a:lnTo>
                  <a:pt x="504" y="106"/>
                </a:lnTo>
                <a:lnTo>
                  <a:pt x="512" y="126"/>
                </a:lnTo>
                <a:lnTo>
                  <a:pt x="518" y="148"/>
                </a:lnTo>
                <a:lnTo>
                  <a:pt x="520" y="172"/>
                </a:lnTo>
                <a:lnTo>
                  <a:pt x="524" y="196"/>
                </a:lnTo>
                <a:lnTo>
                  <a:pt x="524" y="224"/>
                </a:lnTo>
                <a:lnTo>
                  <a:pt x="378" y="224"/>
                </a:lnTo>
                <a:lnTo>
                  <a:pt x="378" y="224"/>
                </a:lnTo>
                <a:lnTo>
                  <a:pt x="378" y="206"/>
                </a:lnTo>
                <a:lnTo>
                  <a:pt x="376" y="188"/>
                </a:lnTo>
                <a:lnTo>
                  <a:pt x="370" y="172"/>
                </a:lnTo>
                <a:lnTo>
                  <a:pt x="364" y="156"/>
                </a:lnTo>
                <a:lnTo>
                  <a:pt x="356" y="144"/>
                </a:lnTo>
                <a:lnTo>
                  <a:pt x="344" y="134"/>
                </a:lnTo>
                <a:lnTo>
                  <a:pt x="330" y="128"/>
                </a:lnTo>
                <a:lnTo>
                  <a:pt x="322" y="126"/>
                </a:lnTo>
                <a:lnTo>
                  <a:pt x="314" y="126"/>
                </a:lnTo>
                <a:lnTo>
                  <a:pt x="314" y="12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" name="Freeform 13"/>
          <p:cNvSpPr>
            <a:spLocks noEditPoints="1"/>
          </p:cNvSpPr>
          <p:nvPr/>
        </p:nvSpPr>
        <p:spPr bwMode="auto">
          <a:xfrm>
            <a:off x="1270616" y="3857241"/>
            <a:ext cx="199424" cy="293270"/>
          </a:xfrm>
          <a:custGeom>
            <a:avLst/>
            <a:gdLst>
              <a:gd name="T0" fmla="*/ 248 w 748"/>
              <a:gd name="T1" fmla="*/ 118 h 1100"/>
              <a:gd name="T2" fmla="*/ 248 w 748"/>
              <a:gd name="T3" fmla="*/ 118 h 1100"/>
              <a:gd name="T4" fmla="*/ 252 w 748"/>
              <a:gd name="T5" fmla="*/ 94 h 1100"/>
              <a:gd name="T6" fmla="*/ 260 w 748"/>
              <a:gd name="T7" fmla="*/ 72 h 1100"/>
              <a:gd name="T8" fmla="*/ 272 w 748"/>
              <a:gd name="T9" fmla="*/ 52 h 1100"/>
              <a:gd name="T10" fmla="*/ 288 w 748"/>
              <a:gd name="T11" fmla="*/ 34 h 1100"/>
              <a:gd name="T12" fmla="*/ 306 w 748"/>
              <a:gd name="T13" fmla="*/ 20 h 1100"/>
              <a:gd name="T14" fmla="*/ 326 w 748"/>
              <a:gd name="T15" fmla="*/ 10 h 1100"/>
              <a:gd name="T16" fmla="*/ 350 w 748"/>
              <a:gd name="T17" fmla="*/ 2 h 1100"/>
              <a:gd name="T18" fmla="*/ 374 w 748"/>
              <a:gd name="T19" fmla="*/ 0 h 1100"/>
              <a:gd name="T20" fmla="*/ 374 w 748"/>
              <a:gd name="T21" fmla="*/ 0 h 1100"/>
              <a:gd name="T22" fmla="*/ 398 w 748"/>
              <a:gd name="T23" fmla="*/ 2 h 1100"/>
              <a:gd name="T24" fmla="*/ 422 w 748"/>
              <a:gd name="T25" fmla="*/ 10 h 1100"/>
              <a:gd name="T26" fmla="*/ 442 w 748"/>
              <a:gd name="T27" fmla="*/ 20 h 1100"/>
              <a:gd name="T28" fmla="*/ 460 w 748"/>
              <a:gd name="T29" fmla="*/ 34 h 1100"/>
              <a:gd name="T30" fmla="*/ 476 w 748"/>
              <a:gd name="T31" fmla="*/ 52 h 1100"/>
              <a:gd name="T32" fmla="*/ 488 w 748"/>
              <a:gd name="T33" fmla="*/ 72 h 1100"/>
              <a:gd name="T34" fmla="*/ 496 w 748"/>
              <a:gd name="T35" fmla="*/ 94 h 1100"/>
              <a:gd name="T36" fmla="*/ 500 w 748"/>
              <a:gd name="T37" fmla="*/ 118 h 1100"/>
              <a:gd name="T38" fmla="*/ 510 w 748"/>
              <a:gd name="T39" fmla="*/ 256 h 1100"/>
              <a:gd name="T40" fmla="*/ 450 w 748"/>
              <a:gd name="T41" fmla="*/ 256 h 1100"/>
              <a:gd name="T42" fmla="*/ 442 w 748"/>
              <a:gd name="T43" fmla="*/ 122 h 1100"/>
              <a:gd name="T44" fmla="*/ 442 w 748"/>
              <a:gd name="T45" fmla="*/ 122 h 1100"/>
              <a:gd name="T46" fmla="*/ 438 w 748"/>
              <a:gd name="T47" fmla="*/ 110 h 1100"/>
              <a:gd name="T48" fmla="*/ 434 w 748"/>
              <a:gd name="T49" fmla="*/ 98 h 1100"/>
              <a:gd name="T50" fmla="*/ 428 w 748"/>
              <a:gd name="T51" fmla="*/ 88 h 1100"/>
              <a:gd name="T52" fmla="*/ 420 w 748"/>
              <a:gd name="T53" fmla="*/ 78 h 1100"/>
              <a:gd name="T54" fmla="*/ 410 w 748"/>
              <a:gd name="T55" fmla="*/ 70 h 1100"/>
              <a:gd name="T56" fmla="*/ 400 w 748"/>
              <a:gd name="T57" fmla="*/ 66 h 1100"/>
              <a:gd name="T58" fmla="*/ 388 w 748"/>
              <a:gd name="T59" fmla="*/ 62 h 1100"/>
              <a:gd name="T60" fmla="*/ 374 w 748"/>
              <a:gd name="T61" fmla="*/ 60 h 1100"/>
              <a:gd name="T62" fmla="*/ 374 w 748"/>
              <a:gd name="T63" fmla="*/ 60 h 1100"/>
              <a:gd name="T64" fmla="*/ 362 w 748"/>
              <a:gd name="T65" fmla="*/ 62 h 1100"/>
              <a:gd name="T66" fmla="*/ 350 w 748"/>
              <a:gd name="T67" fmla="*/ 66 h 1100"/>
              <a:gd name="T68" fmla="*/ 338 w 748"/>
              <a:gd name="T69" fmla="*/ 70 h 1100"/>
              <a:gd name="T70" fmla="*/ 328 w 748"/>
              <a:gd name="T71" fmla="*/ 78 h 1100"/>
              <a:gd name="T72" fmla="*/ 320 w 748"/>
              <a:gd name="T73" fmla="*/ 88 h 1100"/>
              <a:gd name="T74" fmla="*/ 314 w 748"/>
              <a:gd name="T75" fmla="*/ 98 h 1100"/>
              <a:gd name="T76" fmla="*/ 310 w 748"/>
              <a:gd name="T77" fmla="*/ 110 h 1100"/>
              <a:gd name="T78" fmla="*/ 308 w 748"/>
              <a:gd name="T79" fmla="*/ 122 h 1100"/>
              <a:gd name="T80" fmla="*/ 300 w 748"/>
              <a:gd name="T81" fmla="*/ 256 h 1100"/>
              <a:gd name="T82" fmla="*/ 238 w 748"/>
              <a:gd name="T83" fmla="*/ 256 h 1100"/>
              <a:gd name="T84" fmla="*/ 248 w 748"/>
              <a:gd name="T85" fmla="*/ 118 h 1100"/>
              <a:gd name="T86" fmla="*/ 748 w 748"/>
              <a:gd name="T87" fmla="*/ 1100 h 1100"/>
              <a:gd name="T88" fmla="*/ 0 w 748"/>
              <a:gd name="T89" fmla="*/ 1100 h 1100"/>
              <a:gd name="T90" fmla="*/ 0 w 748"/>
              <a:gd name="T91" fmla="*/ 316 h 1100"/>
              <a:gd name="T92" fmla="*/ 748 w 748"/>
              <a:gd name="T93" fmla="*/ 316 h 1100"/>
              <a:gd name="T94" fmla="*/ 748 w 748"/>
              <a:gd name="T95" fmla="*/ 1100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8" h="1100">
                <a:moveTo>
                  <a:pt x="248" y="118"/>
                </a:moveTo>
                <a:lnTo>
                  <a:pt x="248" y="118"/>
                </a:lnTo>
                <a:lnTo>
                  <a:pt x="252" y="94"/>
                </a:lnTo>
                <a:lnTo>
                  <a:pt x="260" y="72"/>
                </a:lnTo>
                <a:lnTo>
                  <a:pt x="272" y="52"/>
                </a:lnTo>
                <a:lnTo>
                  <a:pt x="288" y="34"/>
                </a:lnTo>
                <a:lnTo>
                  <a:pt x="306" y="20"/>
                </a:lnTo>
                <a:lnTo>
                  <a:pt x="326" y="10"/>
                </a:lnTo>
                <a:lnTo>
                  <a:pt x="350" y="2"/>
                </a:lnTo>
                <a:lnTo>
                  <a:pt x="374" y="0"/>
                </a:lnTo>
                <a:lnTo>
                  <a:pt x="374" y="0"/>
                </a:lnTo>
                <a:lnTo>
                  <a:pt x="398" y="2"/>
                </a:lnTo>
                <a:lnTo>
                  <a:pt x="422" y="10"/>
                </a:lnTo>
                <a:lnTo>
                  <a:pt x="442" y="20"/>
                </a:lnTo>
                <a:lnTo>
                  <a:pt x="460" y="34"/>
                </a:lnTo>
                <a:lnTo>
                  <a:pt x="476" y="52"/>
                </a:lnTo>
                <a:lnTo>
                  <a:pt x="488" y="72"/>
                </a:lnTo>
                <a:lnTo>
                  <a:pt x="496" y="94"/>
                </a:lnTo>
                <a:lnTo>
                  <a:pt x="500" y="118"/>
                </a:lnTo>
                <a:lnTo>
                  <a:pt x="510" y="256"/>
                </a:lnTo>
                <a:lnTo>
                  <a:pt x="450" y="256"/>
                </a:lnTo>
                <a:lnTo>
                  <a:pt x="442" y="122"/>
                </a:lnTo>
                <a:lnTo>
                  <a:pt x="442" y="122"/>
                </a:lnTo>
                <a:lnTo>
                  <a:pt x="438" y="110"/>
                </a:lnTo>
                <a:lnTo>
                  <a:pt x="434" y="98"/>
                </a:lnTo>
                <a:lnTo>
                  <a:pt x="428" y="88"/>
                </a:lnTo>
                <a:lnTo>
                  <a:pt x="420" y="78"/>
                </a:lnTo>
                <a:lnTo>
                  <a:pt x="410" y="70"/>
                </a:lnTo>
                <a:lnTo>
                  <a:pt x="400" y="66"/>
                </a:lnTo>
                <a:lnTo>
                  <a:pt x="388" y="62"/>
                </a:lnTo>
                <a:lnTo>
                  <a:pt x="374" y="60"/>
                </a:lnTo>
                <a:lnTo>
                  <a:pt x="374" y="60"/>
                </a:lnTo>
                <a:lnTo>
                  <a:pt x="362" y="62"/>
                </a:lnTo>
                <a:lnTo>
                  <a:pt x="350" y="66"/>
                </a:lnTo>
                <a:lnTo>
                  <a:pt x="338" y="70"/>
                </a:lnTo>
                <a:lnTo>
                  <a:pt x="328" y="78"/>
                </a:lnTo>
                <a:lnTo>
                  <a:pt x="320" y="88"/>
                </a:lnTo>
                <a:lnTo>
                  <a:pt x="314" y="98"/>
                </a:lnTo>
                <a:lnTo>
                  <a:pt x="310" y="110"/>
                </a:lnTo>
                <a:lnTo>
                  <a:pt x="308" y="122"/>
                </a:lnTo>
                <a:lnTo>
                  <a:pt x="300" y="256"/>
                </a:lnTo>
                <a:lnTo>
                  <a:pt x="238" y="256"/>
                </a:lnTo>
                <a:lnTo>
                  <a:pt x="248" y="118"/>
                </a:lnTo>
                <a:close/>
                <a:moveTo>
                  <a:pt x="748" y="1100"/>
                </a:moveTo>
                <a:lnTo>
                  <a:pt x="0" y="1100"/>
                </a:lnTo>
                <a:lnTo>
                  <a:pt x="0" y="316"/>
                </a:lnTo>
                <a:lnTo>
                  <a:pt x="748" y="316"/>
                </a:lnTo>
                <a:lnTo>
                  <a:pt x="748" y="11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4" name="Group 43"/>
          <p:cNvGrpSpPr/>
          <p:nvPr/>
        </p:nvGrpSpPr>
        <p:grpSpPr>
          <a:xfrm>
            <a:off x="3963268" y="1224522"/>
            <a:ext cx="434228" cy="424769"/>
            <a:chOff x="-1276899" y="4003506"/>
            <a:chExt cx="726291" cy="710471"/>
          </a:xfrm>
        </p:grpSpPr>
        <p:sp>
          <p:nvSpPr>
            <p:cNvPr id="45" name="Oval 44"/>
            <p:cNvSpPr/>
            <p:nvPr/>
          </p:nvSpPr>
          <p:spPr>
            <a:xfrm>
              <a:off x="-1182798" y="4151460"/>
              <a:ext cx="543702" cy="55984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46" name="Freeform 120"/>
            <p:cNvSpPr>
              <a:spLocks noEditPoints="1"/>
            </p:cNvSpPr>
            <p:nvPr/>
          </p:nvSpPr>
          <p:spPr bwMode="auto">
            <a:xfrm>
              <a:off x="-1276899" y="4003506"/>
              <a:ext cx="726291" cy="710471"/>
            </a:xfrm>
            <a:custGeom>
              <a:avLst/>
              <a:gdLst>
                <a:gd name="T0" fmla="*/ 294 w 726"/>
                <a:gd name="T1" fmla="*/ 396 h 726"/>
                <a:gd name="T2" fmla="*/ 350 w 726"/>
                <a:gd name="T3" fmla="*/ 324 h 726"/>
                <a:gd name="T4" fmla="*/ 350 w 726"/>
                <a:gd name="T5" fmla="*/ 520 h 726"/>
                <a:gd name="T6" fmla="*/ 234 w 726"/>
                <a:gd name="T7" fmla="*/ 448 h 726"/>
                <a:gd name="T8" fmla="*/ 234 w 726"/>
                <a:gd name="T9" fmla="*/ 448 h 726"/>
                <a:gd name="T10" fmla="*/ 206 w 726"/>
                <a:gd name="T11" fmla="*/ 324 h 726"/>
                <a:gd name="T12" fmla="*/ 250 w 726"/>
                <a:gd name="T13" fmla="*/ 520 h 726"/>
                <a:gd name="T14" fmla="*/ 270 w 726"/>
                <a:gd name="T15" fmla="*/ 474 h 726"/>
                <a:gd name="T16" fmla="*/ 432 w 726"/>
                <a:gd name="T17" fmla="*/ 520 h 726"/>
                <a:gd name="T18" fmla="*/ 362 w 726"/>
                <a:gd name="T19" fmla="*/ 204 h 726"/>
                <a:gd name="T20" fmla="*/ 358 w 726"/>
                <a:gd name="T21" fmla="*/ 300 h 726"/>
                <a:gd name="T22" fmla="*/ 366 w 726"/>
                <a:gd name="T23" fmla="*/ 206 h 726"/>
                <a:gd name="T24" fmla="*/ 522 w 726"/>
                <a:gd name="T25" fmla="*/ 324 h 726"/>
                <a:gd name="T26" fmla="*/ 432 w 726"/>
                <a:gd name="T27" fmla="*/ 448 h 726"/>
                <a:gd name="T28" fmla="*/ 364 w 726"/>
                <a:gd name="T29" fmla="*/ 0 h 726"/>
                <a:gd name="T30" fmla="*/ 256 w 726"/>
                <a:gd name="T31" fmla="*/ 16 h 726"/>
                <a:gd name="T32" fmla="*/ 132 w 726"/>
                <a:gd name="T33" fmla="*/ 82 h 726"/>
                <a:gd name="T34" fmla="*/ 44 w 726"/>
                <a:gd name="T35" fmla="*/ 190 h 726"/>
                <a:gd name="T36" fmla="*/ 2 w 726"/>
                <a:gd name="T37" fmla="*/ 326 h 726"/>
                <a:gd name="T38" fmla="*/ 8 w 726"/>
                <a:gd name="T39" fmla="*/ 436 h 726"/>
                <a:gd name="T40" fmla="*/ 62 w 726"/>
                <a:gd name="T41" fmla="*/ 566 h 726"/>
                <a:gd name="T42" fmla="*/ 160 w 726"/>
                <a:gd name="T43" fmla="*/ 664 h 726"/>
                <a:gd name="T44" fmla="*/ 290 w 726"/>
                <a:gd name="T45" fmla="*/ 718 h 726"/>
                <a:gd name="T46" fmla="*/ 400 w 726"/>
                <a:gd name="T47" fmla="*/ 724 h 726"/>
                <a:gd name="T48" fmla="*/ 536 w 726"/>
                <a:gd name="T49" fmla="*/ 682 h 726"/>
                <a:gd name="T50" fmla="*/ 644 w 726"/>
                <a:gd name="T51" fmla="*/ 594 h 726"/>
                <a:gd name="T52" fmla="*/ 710 w 726"/>
                <a:gd name="T53" fmla="*/ 470 h 726"/>
                <a:gd name="T54" fmla="*/ 726 w 726"/>
                <a:gd name="T55" fmla="*/ 362 h 726"/>
                <a:gd name="T56" fmla="*/ 698 w 726"/>
                <a:gd name="T57" fmla="*/ 222 h 726"/>
                <a:gd name="T58" fmla="*/ 620 w 726"/>
                <a:gd name="T59" fmla="*/ 106 h 726"/>
                <a:gd name="T60" fmla="*/ 504 w 726"/>
                <a:gd name="T61" fmla="*/ 28 h 726"/>
                <a:gd name="T62" fmla="*/ 364 w 726"/>
                <a:gd name="T63" fmla="*/ 0 h 726"/>
                <a:gd name="T64" fmla="*/ 498 w 726"/>
                <a:gd name="T65" fmla="*/ 532 h 726"/>
                <a:gd name="T66" fmla="*/ 474 w 726"/>
                <a:gd name="T67" fmla="*/ 544 h 726"/>
                <a:gd name="T68" fmla="*/ 234 w 726"/>
                <a:gd name="T69" fmla="*/ 538 h 726"/>
                <a:gd name="T70" fmla="*/ 180 w 726"/>
                <a:gd name="T71" fmla="*/ 328 h 726"/>
                <a:gd name="T72" fmla="*/ 182 w 726"/>
                <a:gd name="T73" fmla="*/ 314 h 726"/>
                <a:gd name="T74" fmla="*/ 202 w 726"/>
                <a:gd name="T75" fmla="*/ 300 h 726"/>
                <a:gd name="T76" fmla="*/ 334 w 726"/>
                <a:gd name="T77" fmla="*/ 190 h 726"/>
                <a:gd name="T78" fmla="*/ 376 w 726"/>
                <a:gd name="T79" fmla="*/ 180 h 726"/>
                <a:gd name="T80" fmla="*/ 392 w 726"/>
                <a:gd name="T81" fmla="*/ 190 h 726"/>
                <a:gd name="T82" fmla="*/ 524 w 726"/>
                <a:gd name="T83" fmla="*/ 300 h 726"/>
                <a:gd name="T84" fmla="*/ 546 w 726"/>
                <a:gd name="T85" fmla="*/ 314 h 726"/>
                <a:gd name="T86" fmla="*/ 458 w 726"/>
                <a:gd name="T87" fmla="*/ 448 h 726"/>
                <a:gd name="T88" fmla="*/ 458 w 726"/>
                <a:gd name="T89" fmla="*/ 448 h 726"/>
                <a:gd name="T90" fmla="*/ 476 w 726"/>
                <a:gd name="T91" fmla="*/ 520 h 726"/>
                <a:gd name="T92" fmla="*/ 458 w 726"/>
                <a:gd name="T93" fmla="*/ 474 h 726"/>
                <a:gd name="T94" fmla="*/ 432 w 726"/>
                <a:gd name="T95" fmla="*/ 324 h 7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26" h="726">
                  <a:moveTo>
                    <a:pt x="294" y="448"/>
                  </a:moveTo>
                  <a:lnTo>
                    <a:pt x="350" y="448"/>
                  </a:lnTo>
                  <a:lnTo>
                    <a:pt x="350" y="396"/>
                  </a:lnTo>
                  <a:lnTo>
                    <a:pt x="294" y="396"/>
                  </a:lnTo>
                  <a:lnTo>
                    <a:pt x="294" y="448"/>
                  </a:lnTo>
                  <a:close/>
                  <a:moveTo>
                    <a:pt x="294" y="370"/>
                  </a:moveTo>
                  <a:lnTo>
                    <a:pt x="350" y="370"/>
                  </a:lnTo>
                  <a:lnTo>
                    <a:pt x="350" y="324"/>
                  </a:lnTo>
                  <a:lnTo>
                    <a:pt x="294" y="324"/>
                  </a:lnTo>
                  <a:lnTo>
                    <a:pt x="294" y="370"/>
                  </a:lnTo>
                  <a:close/>
                  <a:moveTo>
                    <a:pt x="294" y="520"/>
                  </a:moveTo>
                  <a:lnTo>
                    <a:pt x="350" y="520"/>
                  </a:lnTo>
                  <a:lnTo>
                    <a:pt x="350" y="474"/>
                  </a:lnTo>
                  <a:lnTo>
                    <a:pt x="294" y="474"/>
                  </a:lnTo>
                  <a:lnTo>
                    <a:pt x="294" y="520"/>
                  </a:lnTo>
                  <a:close/>
                  <a:moveTo>
                    <a:pt x="234" y="448"/>
                  </a:moveTo>
                  <a:lnTo>
                    <a:pt x="270" y="448"/>
                  </a:lnTo>
                  <a:lnTo>
                    <a:pt x="270" y="396"/>
                  </a:lnTo>
                  <a:lnTo>
                    <a:pt x="222" y="396"/>
                  </a:lnTo>
                  <a:lnTo>
                    <a:pt x="234" y="448"/>
                  </a:lnTo>
                  <a:close/>
                  <a:moveTo>
                    <a:pt x="216" y="370"/>
                  </a:moveTo>
                  <a:lnTo>
                    <a:pt x="270" y="370"/>
                  </a:lnTo>
                  <a:lnTo>
                    <a:pt x="270" y="324"/>
                  </a:lnTo>
                  <a:lnTo>
                    <a:pt x="206" y="324"/>
                  </a:lnTo>
                  <a:lnTo>
                    <a:pt x="216" y="370"/>
                  </a:lnTo>
                  <a:close/>
                  <a:moveTo>
                    <a:pt x="248" y="518"/>
                  </a:moveTo>
                  <a:lnTo>
                    <a:pt x="248" y="518"/>
                  </a:lnTo>
                  <a:lnTo>
                    <a:pt x="250" y="520"/>
                  </a:lnTo>
                  <a:lnTo>
                    <a:pt x="252" y="520"/>
                  </a:lnTo>
                  <a:lnTo>
                    <a:pt x="270" y="520"/>
                  </a:lnTo>
                  <a:lnTo>
                    <a:pt x="270" y="474"/>
                  </a:lnTo>
                  <a:lnTo>
                    <a:pt x="238" y="474"/>
                  </a:lnTo>
                  <a:lnTo>
                    <a:pt x="248" y="518"/>
                  </a:lnTo>
                  <a:close/>
                  <a:moveTo>
                    <a:pt x="376" y="520"/>
                  </a:moveTo>
                  <a:lnTo>
                    <a:pt x="432" y="520"/>
                  </a:lnTo>
                  <a:lnTo>
                    <a:pt x="432" y="474"/>
                  </a:lnTo>
                  <a:lnTo>
                    <a:pt x="376" y="474"/>
                  </a:lnTo>
                  <a:lnTo>
                    <a:pt x="376" y="520"/>
                  </a:lnTo>
                  <a:close/>
                  <a:moveTo>
                    <a:pt x="362" y="204"/>
                  </a:moveTo>
                  <a:lnTo>
                    <a:pt x="362" y="204"/>
                  </a:lnTo>
                  <a:lnTo>
                    <a:pt x="360" y="206"/>
                  </a:lnTo>
                  <a:lnTo>
                    <a:pt x="358" y="208"/>
                  </a:lnTo>
                  <a:lnTo>
                    <a:pt x="358" y="300"/>
                  </a:lnTo>
                  <a:lnTo>
                    <a:pt x="368" y="300"/>
                  </a:lnTo>
                  <a:lnTo>
                    <a:pt x="368" y="208"/>
                  </a:lnTo>
                  <a:lnTo>
                    <a:pt x="366" y="206"/>
                  </a:lnTo>
                  <a:lnTo>
                    <a:pt x="362" y="204"/>
                  </a:lnTo>
                  <a:close/>
                  <a:moveTo>
                    <a:pt x="458" y="370"/>
                  </a:moveTo>
                  <a:lnTo>
                    <a:pt x="510" y="370"/>
                  </a:lnTo>
                  <a:lnTo>
                    <a:pt x="522" y="324"/>
                  </a:lnTo>
                  <a:lnTo>
                    <a:pt x="458" y="324"/>
                  </a:lnTo>
                  <a:lnTo>
                    <a:pt x="458" y="370"/>
                  </a:lnTo>
                  <a:close/>
                  <a:moveTo>
                    <a:pt x="376" y="448"/>
                  </a:moveTo>
                  <a:lnTo>
                    <a:pt x="432" y="448"/>
                  </a:lnTo>
                  <a:lnTo>
                    <a:pt x="432" y="396"/>
                  </a:lnTo>
                  <a:lnTo>
                    <a:pt x="376" y="396"/>
                  </a:lnTo>
                  <a:lnTo>
                    <a:pt x="376" y="448"/>
                  </a:lnTo>
                  <a:close/>
                  <a:moveTo>
                    <a:pt x="364" y="0"/>
                  </a:moveTo>
                  <a:lnTo>
                    <a:pt x="364" y="0"/>
                  </a:lnTo>
                  <a:lnTo>
                    <a:pt x="326" y="2"/>
                  </a:lnTo>
                  <a:lnTo>
                    <a:pt x="290" y="8"/>
                  </a:lnTo>
                  <a:lnTo>
                    <a:pt x="256" y="16"/>
                  </a:lnTo>
                  <a:lnTo>
                    <a:pt x="222" y="28"/>
                  </a:lnTo>
                  <a:lnTo>
                    <a:pt x="190" y="44"/>
                  </a:lnTo>
                  <a:lnTo>
                    <a:pt x="160" y="62"/>
                  </a:lnTo>
                  <a:lnTo>
                    <a:pt x="132" y="82"/>
                  </a:lnTo>
                  <a:lnTo>
                    <a:pt x="106" y="106"/>
                  </a:lnTo>
                  <a:lnTo>
                    <a:pt x="84" y="132"/>
                  </a:lnTo>
                  <a:lnTo>
                    <a:pt x="62" y="160"/>
                  </a:lnTo>
                  <a:lnTo>
                    <a:pt x="44" y="190"/>
                  </a:lnTo>
                  <a:lnTo>
                    <a:pt x="28" y="222"/>
                  </a:lnTo>
                  <a:lnTo>
                    <a:pt x="16" y="254"/>
                  </a:lnTo>
                  <a:lnTo>
                    <a:pt x="8" y="290"/>
                  </a:lnTo>
                  <a:lnTo>
                    <a:pt x="2" y="326"/>
                  </a:lnTo>
                  <a:lnTo>
                    <a:pt x="0" y="362"/>
                  </a:lnTo>
                  <a:lnTo>
                    <a:pt x="2" y="400"/>
                  </a:lnTo>
                  <a:lnTo>
                    <a:pt x="8" y="436"/>
                  </a:lnTo>
                  <a:lnTo>
                    <a:pt x="16" y="470"/>
                  </a:lnTo>
                  <a:lnTo>
                    <a:pt x="28" y="504"/>
                  </a:lnTo>
                  <a:lnTo>
                    <a:pt x="44" y="536"/>
                  </a:lnTo>
                  <a:lnTo>
                    <a:pt x="62" y="566"/>
                  </a:lnTo>
                  <a:lnTo>
                    <a:pt x="84" y="594"/>
                  </a:lnTo>
                  <a:lnTo>
                    <a:pt x="106" y="620"/>
                  </a:lnTo>
                  <a:lnTo>
                    <a:pt x="132" y="642"/>
                  </a:lnTo>
                  <a:lnTo>
                    <a:pt x="160" y="664"/>
                  </a:lnTo>
                  <a:lnTo>
                    <a:pt x="190" y="682"/>
                  </a:lnTo>
                  <a:lnTo>
                    <a:pt x="222" y="698"/>
                  </a:lnTo>
                  <a:lnTo>
                    <a:pt x="256" y="710"/>
                  </a:lnTo>
                  <a:lnTo>
                    <a:pt x="290" y="718"/>
                  </a:lnTo>
                  <a:lnTo>
                    <a:pt x="326" y="724"/>
                  </a:lnTo>
                  <a:lnTo>
                    <a:pt x="364" y="726"/>
                  </a:lnTo>
                  <a:lnTo>
                    <a:pt x="400" y="724"/>
                  </a:lnTo>
                  <a:lnTo>
                    <a:pt x="436" y="718"/>
                  </a:lnTo>
                  <a:lnTo>
                    <a:pt x="472" y="710"/>
                  </a:lnTo>
                  <a:lnTo>
                    <a:pt x="504" y="698"/>
                  </a:lnTo>
                  <a:lnTo>
                    <a:pt x="536" y="682"/>
                  </a:lnTo>
                  <a:lnTo>
                    <a:pt x="566" y="664"/>
                  </a:lnTo>
                  <a:lnTo>
                    <a:pt x="594" y="642"/>
                  </a:lnTo>
                  <a:lnTo>
                    <a:pt x="620" y="620"/>
                  </a:lnTo>
                  <a:lnTo>
                    <a:pt x="644" y="594"/>
                  </a:lnTo>
                  <a:lnTo>
                    <a:pt x="664" y="566"/>
                  </a:lnTo>
                  <a:lnTo>
                    <a:pt x="682" y="536"/>
                  </a:lnTo>
                  <a:lnTo>
                    <a:pt x="698" y="504"/>
                  </a:lnTo>
                  <a:lnTo>
                    <a:pt x="710" y="470"/>
                  </a:lnTo>
                  <a:lnTo>
                    <a:pt x="718" y="436"/>
                  </a:lnTo>
                  <a:lnTo>
                    <a:pt x="724" y="400"/>
                  </a:lnTo>
                  <a:lnTo>
                    <a:pt x="726" y="362"/>
                  </a:lnTo>
                  <a:lnTo>
                    <a:pt x="724" y="326"/>
                  </a:lnTo>
                  <a:lnTo>
                    <a:pt x="718" y="290"/>
                  </a:lnTo>
                  <a:lnTo>
                    <a:pt x="710" y="254"/>
                  </a:lnTo>
                  <a:lnTo>
                    <a:pt x="698" y="222"/>
                  </a:lnTo>
                  <a:lnTo>
                    <a:pt x="682" y="190"/>
                  </a:lnTo>
                  <a:lnTo>
                    <a:pt x="664" y="160"/>
                  </a:lnTo>
                  <a:lnTo>
                    <a:pt x="644" y="132"/>
                  </a:lnTo>
                  <a:lnTo>
                    <a:pt x="620" y="106"/>
                  </a:lnTo>
                  <a:lnTo>
                    <a:pt x="594" y="82"/>
                  </a:lnTo>
                  <a:lnTo>
                    <a:pt x="566" y="62"/>
                  </a:lnTo>
                  <a:lnTo>
                    <a:pt x="536" y="44"/>
                  </a:lnTo>
                  <a:lnTo>
                    <a:pt x="504" y="28"/>
                  </a:lnTo>
                  <a:lnTo>
                    <a:pt x="472" y="16"/>
                  </a:lnTo>
                  <a:lnTo>
                    <a:pt x="436" y="8"/>
                  </a:lnTo>
                  <a:lnTo>
                    <a:pt x="400" y="2"/>
                  </a:lnTo>
                  <a:lnTo>
                    <a:pt x="364" y="0"/>
                  </a:lnTo>
                  <a:close/>
                  <a:moveTo>
                    <a:pt x="546" y="326"/>
                  </a:moveTo>
                  <a:lnTo>
                    <a:pt x="502" y="524"/>
                  </a:lnTo>
                  <a:lnTo>
                    <a:pt x="498" y="532"/>
                  </a:lnTo>
                  <a:lnTo>
                    <a:pt x="492" y="538"/>
                  </a:lnTo>
                  <a:lnTo>
                    <a:pt x="484" y="544"/>
                  </a:lnTo>
                  <a:lnTo>
                    <a:pt x="474" y="544"/>
                  </a:lnTo>
                  <a:lnTo>
                    <a:pt x="252" y="544"/>
                  </a:lnTo>
                  <a:lnTo>
                    <a:pt x="242" y="544"/>
                  </a:lnTo>
                  <a:lnTo>
                    <a:pt x="234" y="538"/>
                  </a:lnTo>
                  <a:lnTo>
                    <a:pt x="228" y="532"/>
                  </a:lnTo>
                  <a:lnTo>
                    <a:pt x="224" y="524"/>
                  </a:lnTo>
                  <a:lnTo>
                    <a:pt x="180" y="328"/>
                  </a:lnTo>
                  <a:lnTo>
                    <a:pt x="180" y="322"/>
                  </a:lnTo>
                  <a:lnTo>
                    <a:pt x="182" y="314"/>
                  </a:lnTo>
                  <a:lnTo>
                    <a:pt x="186" y="306"/>
                  </a:lnTo>
                  <a:lnTo>
                    <a:pt x="194" y="302"/>
                  </a:lnTo>
                  <a:lnTo>
                    <a:pt x="202" y="300"/>
                  </a:lnTo>
                  <a:lnTo>
                    <a:pt x="332" y="300"/>
                  </a:lnTo>
                  <a:lnTo>
                    <a:pt x="332" y="196"/>
                  </a:lnTo>
                  <a:lnTo>
                    <a:pt x="334" y="190"/>
                  </a:lnTo>
                  <a:lnTo>
                    <a:pt x="338" y="186"/>
                  </a:lnTo>
                  <a:lnTo>
                    <a:pt x="342" y="182"/>
                  </a:lnTo>
                  <a:lnTo>
                    <a:pt x="348" y="180"/>
                  </a:lnTo>
                  <a:lnTo>
                    <a:pt x="376" y="180"/>
                  </a:lnTo>
                  <a:lnTo>
                    <a:pt x="382" y="182"/>
                  </a:lnTo>
                  <a:lnTo>
                    <a:pt x="388" y="186"/>
                  </a:lnTo>
                  <a:lnTo>
                    <a:pt x="392" y="190"/>
                  </a:lnTo>
                  <a:lnTo>
                    <a:pt x="392" y="196"/>
                  </a:lnTo>
                  <a:lnTo>
                    <a:pt x="392" y="300"/>
                  </a:lnTo>
                  <a:lnTo>
                    <a:pt x="524" y="300"/>
                  </a:lnTo>
                  <a:lnTo>
                    <a:pt x="534" y="302"/>
                  </a:lnTo>
                  <a:lnTo>
                    <a:pt x="540" y="306"/>
                  </a:lnTo>
                  <a:lnTo>
                    <a:pt x="546" y="314"/>
                  </a:lnTo>
                  <a:lnTo>
                    <a:pt x="548" y="322"/>
                  </a:lnTo>
                  <a:lnTo>
                    <a:pt x="546" y="326"/>
                  </a:lnTo>
                  <a:close/>
                  <a:moveTo>
                    <a:pt x="458" y="448"/>
                  </a:moveTo>
                  <a:lnTo>
                    <a:pt x="494" y="448"/>
                  </a:lnTo>
                  <a:lnTo>
                    <a:pt x="506" y="396"/>
                  </a:lnTo>
                  <a:lnTo>
                    <a:pt x="458" y="396"/>
                  </a:lnTo>
                  <a:lnTo>
                    <a:pt x="458" y="448"/>
                  </a:lnTo>
                  <a:close/>
                  <a:moveTo>
                    <a:pt x="458" y="520"/>
                  </a:moveTo>
                  <a:lnTo>
                    <a:pt x="474" y="520"/>
                  </a:lnTo>
                  <a:lnTo>
                    <a:pt x="476" y="520"/>
                  </a:lnTo>
                  <a:lnTo>
                    <a:pt x="478" y="518"/>
                  </a:lnTo>
                  <a:lnTo>
                    <a:pt x="488" y="474"/>
                  </a:lnTo>
                  <a:lnTo>
                    <a:pt x="458" y="474"/>
                  </a:lnTo>
                  <a:lnTo>
                    <a:pt x="458" y="520"/>
                  </a:lnTo>
                  <a:close/>
                  <a:moveTo>
                    <a:pt x="376" y="370"/>
                  </a:moveTo>
                  <a:lnTo>
                    <a:pt x="432" y="370"/>
                  </a:lnTo>
                  <a:lnTo>
                    <a:pt x="432" y="324"/>
                  </a:lnTo>
                  <a:lnTo>
                    <a:pt x="376" y="324"/>
                  </a:lnTo>
                  <a:lnTo>
                    <a:pt x="376" y="3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928850" y="5485852"/>
            <a:ext cx="470534" cy="441311"/>
            <a:chOff x="-1468237" y="3740090"/>
            <a:chExt cx="906488" cy="850188"/>
          </a:xfrm>
        </p:grpSpPr>
        <p:sp>
          <p:nvSpPr>
            <p:cNvPr id="3" name="Oval 2"/>
            <p:cNvSpPr/>
            <p:nvPr/>
          </p:nvSpPr>
          <p:spPr>
            <a:xfrm>
              <a:off x="-1398453" y="3765608"/>
              <a:ext cx="766916" cy="70744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47" name="Freeform 307"/>
            <p:cNvSpPr>
              <a:spLocks noEditPoints="1"/>
            </p:cNvSpPr>
            <p:nvPr/>
          </p:nvSpPr>
          <p:spPr bwMode="auto">
            <a:xfrm>
              <a:off x="-1468237" y="3740090"/>
              <a:ext cx="906488" cy="850188"/>
            </a:xfrm>
            <a:custGeom>
              <a:avLst/>
              <a:gdLst>
                <a:gd name="T0" fmla="*/ 364 w 726"/>
                <a:gd name="T1" fmla="*/ 0 h 726"/>
                <a:gd name="T2" fmla="*/ 290 w 726"/>
                <a:gd name="T3" fmla="*/ 8 h 726"/>
                <a:gd name="T4" fmla="*/ 222 w 726"/>
                <a:gd name="T5" fmla="*/ 28 h 726"/>
                <a:gd name="T6" fmla="*/ 160 w 726"/>
                <a:gd name="T7" fmla="*/ 62 h 726"/>
                <a:gd name="T8" fmla="*/ 106 w 726"/>
                <a:gd name="T9" fmla="*/ 106 h 726"/>
                <a:gd name="T10" fmla="*/ 62 w 726"/>
                <a:gd name="T11" fmla="*/ 160 h 726"/>
                <a:gd name="T12" fmla="*/ 30 w 726"/>
                <a:gd name="T13" fmla="*/ 222 h 726"/>
                <a:gd name="T14" fmla="*/ 8 w 726"/>
                <a:gd name="T15" fmla="*/ 290 h 726"/>
                <a:gd name="T16" fmla="*/ 0 w 726"/>
                <a:gd name="T17" fmla="*/ 362 h 726"/>
                <a:gd name="T18" fmla="*/ 2 w 726"/>
                <a:gd name="T19" fmla="*/ 400 h 726"/>
                <a:gd name="T20" fmla="*/ 16 w 726"/>
                <a:gd name="T21" fmla="*/ 470 h 726"/>
                <a:gd name="T22" fmla="*/ 44 w 726"/>
                <a:gd name="T23" fmla="*/ 536 h 726"/>
                <a:gd name="T24" fmla="*/ 84 w 726"/>
                <a:gd name="T25" fmla="*/ 594 h 726"/>
                <a:gd name="T26" fmla="*/ 132 w 726"/>
                <a:gd name="T27" fmla="*/ 642 h 726"/>
                <a:gd name="T28" fmla="*/ 190 w 726"/>
                <a:gd name="T29" fmla="*/ 682 h 726"/>
                <a:gd name="T30" fmla="*/ 256 w 726"/>
                <a:gd name="T31" fmla="*/ 710 h 726"/>
                <a:gd name="T32" fmla="*/ 326 w 726"/>
                <a:gd name="T33" fmla="*/ 724 h 726"/>
                <a:gd name="T34" fmla="*/ 364 w 726"/>
                <a:gd name="T35" fmla="*/ 726 h 726"/>
                <a:gd name="T36" fmla="*/ 436 w 726"/>
                <a:gd name="T37" fmla="*/ 718 h 726"/>
                <a:gd name="T38" fmla="*/ 504 w 726"/>
                <a:gd name="T39" fmla="*/ 698 h 726"/>
                <a:gd name="T40" fmla="*/ 566 w 726"/>
                <a:gd name="T41" fmla="*/ 664 h 726"/>
                <a:gd name="T42" fmla="*/ 620 w 726"/>
                <a:gd name="T43" fmla="*/ 620 h 726"/>
                <a:gd name="T44" fmla="*/ 664 w 726"/>
                <a:gd name="T45" fmla="*/ 566 h 726"/>
                <a:gd name="T46" fmla="*/ 698 w 726"/>
                <a:gd name="T47" fmla="*/ 504 h 726"/>
                <a:gd name="T48" fmla="*/ 718 w 726"/>
                <a:gd name="T49" fmla="*/ 436 h 726"/>
                <a:gd name="T50" fmla="*/ 726 w 726"/>
                <a:gd name="T51" fmla="*/ 362 h 726"/>
                <a:gd name="T52" fmla="*/ 724 w 726"/>
                <a:gd name="T53" fmla="*/ 326 h 726"/>
                <a:gd name="T54" fmla="*/ 710 w 726"/>
                <a:gd name="T55" fmla="*/ 254 h 726"/>
                <a:gd name="T56" fmla="*/ 682 w 726"/>
                <a:gd name="T57" fmla="*/ 190 h 726"/>
                <a:gd name="T58" fmla="*/ 644 w 726"/>
                <a:gd name="T59" fmla="*/ 132 h 726"/>
                <a:gd name="T60" fmla="*/ 594 w 726"/>
                <a:gd name="T61" fmla="*/ 82 h 726"/>
                <a:gd name="T62" fmla="*/ 536 w 726"/>
                <a:gd name="T63" fmla="*/ 44 h 726"/>
                <a:gd name="T64" fmla="*/ 472 w 726"/>
                <a:gd name="T65" fmla="*/ 16 h 726"/>
                <a:gd name="T66" fmla="*/ 400 w 726"/>
                <a:gd name="T67" fmla="*/ 2 h 726"/>
                <a:gd name="T68" fmla="*/ 232 w 726"/>
                <a:gd name="T69" fmla="*/ 250 h 726"/>
                <a:gd name="T70" fmla="*/ 272 w 726"/>
                <a:gd name="T71" fmla="*/ 174 h 726"/>
                <a:gd name="T72" fmla="*/ 272 w 726"/>
                <a:gd name="T73" fmla="*/ 210 h 726"/>
                <a:gd name="T74" fmla="*/ 530 w 726"/>
                <a:gd name="T75" fmla="*/ 320 h 726"/>
                <a:gd name="T76" fmla="*/ 502 w 726"/>
                <a:gd name="T77" fmla="*/ 558 h 726"/>
                <a:gd name="T78" fmla="*/ 232 w 726"/>
                <a:gd name="T79" fmla="*/ 320 h 726"/>
                <a:gd name="T80" fmla="*/ 366 w 726"/>
                <a:gd name="T81" fmla="*/ 156 h 726"/>
                <a:gd name="T82" fmla="*/ 530 w 726"/>
                <a:gd name="T83" fmla="*/ 320 h 72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726" h="726">
                  <a:moveTo>
                    <a:pt x="364" y="0"/>
                  </a:moveTo>
                  <a:lnTo>
                    <a:pt x="364" y="0"/>
                  </a:lnTo>
                  <a:lnTo>
                    <a:pt x="326" y="2"/>
                  </a:lnTo>
                  <a:lnTo>
                    <a:pt x="290" y="8"/>
                  </a:lnTo>
                  <a:lnTo>
                    <a:pt x="256" y="16"/>
                  </a:lnTo>
                  <a:lnTo>
                    <a:pt x="222" y="28"/>
                  </a:lnTo>
                  <a:lnTo>
                    <a:pt x="190" y="44"/>
                  </a:lnTo>
                  <a:lnTo>
                    <a:pt x="160" y="62"/>
                  </a:lnTo>
                  <a:lnTo>
                    <a:pt x="132" y="82"/>
                  </a:lnTo>
                  <a:lnTo>
                    <a:pt x="106" y="106"/>
                  </a:lnTo>
                  <a:lnTo>
                    <a:pt x="84" y="132"/>
                  </a:lnTo>
                  <a:lnTo>
                    <a:pt x="62" y="160"/>
                  </a:lnTo>
                  <a:lnTo>
                    <a:pt x="44" y="190"/>
                  </a:lnTo>
                  <a:lnTo>
                    <a:pt x="30" y="222"/>
                  </a:lnTo>
                  <a:lnTo>
                    <a:pt x="16" y="254"/>
                  </a:lnTo>
                  <a:lnTo>
                    <a:pt x="8" y="290"/>
                  </a:lnTo>
                  <a:lnTo>
                    <a:pt x="2" y="326"/>
                  </a:lnTo>
                  <a:lnTo>
                    <a:pt x="0" y="362"/>
                  </a:lnTo>
                  <a:lnTo>
                    <a:pt x="2" y="400"/>
                  </a:lnTo>
                  <a:lnTo>
                    <a:pt x="8" y="436"/>
                  </a:lnTo>
                  <a:lnTo>
                    <a:pt x="16" y="470"/>
                  </a:lnTo>
                  <a:lnTo>
                    <a:pt x="30" y="504"/>
                  </a:lnTo>
                  <a:lnTo>
                    <a:pt x="44" y="536"/>
                  </a:lnTo>
                  <a:lnTo>
                    <a:pt x="62" y="566"/>
                  </a:lnTo>
                  <a:lnTo>
                    <a:pt x="84" y="594"/>
                  </a:lnTo>
                  <a:lnTo>
                    <a:pt x="106" y="620"/>
                  </a:lnTo>
                  <a:lnTo>
                    <a:pt x="132" y="642"/>
                  </a:lnTo>
                  <a:lnTo>
                    <a:pt x="160" y="664"/>
                  </a:lnTo>
                  <a:lnTo>
                    <a:pt x="190" y="682"/>
                  </a:lnTo>
                  <a:lnTo>
                    <a:pt x="222" y="698"/>
                  </a:lnTo>
                  <a:lnTo>
                    <a:pt x="256" y="710"/>
                  </a:lnTo>
                  <a:lnTo>
                    <a:pt x="290" y="718"/>
                  </a:lnTo>
                  <a:lnTo>
                    <a:pt x="326" y="724"/>
                  </a:lnTo>
                  <a:lnTo>
                    <a:pt x="364" y="726"/>
                  </a:lnTo>
                  <a:lnTo>
                    <a:pt x="400" y="724"/>
                  </a:lnTo>
                  <a:lnTo>
                    <a:pt x="436" y="718"/>
                  </a:lnTo>
                  <a:lnTo>
                    <a:pt x="472" y="710"/>
                  </a:lnTo>
                  <a:lnTo>
                    <a:pt x="504" y="698"/>
                  </a:lnTo>
                  <a:lnTo>
                    <a:pt x="536" y="682"/>
                  </a:lnTo>
                  <a:lnTo>
                    <a:pt x="566" y="664"/>
                  </a:lnTo>
                  <a:lnTo>
                    <a:pt x="594" y="642"/>
                  </a:lnTo>
                  <a:lnTo>
                    <a:pt x="620" y="620"/>
                  </a:lnTo>
                  <a:lnTo>
                    <a:pt x="644" y="594"/>
                  </a:lnTo>
                  <a:lnTo>
                    <a:pt x="664" y="566"/>
                  </a:lnTo>
                  <a:lnTo>
                    <a:pt x="682" y="536"/>
                  </a:lnTo>
                  <a:lnTo>
                    <a:pt x="698" y="504"/>
                  </a:lnTo>
                  <a:lnTo>
                    <a:pt x="710" y="470"/>
                  </a:lnTo>
                  <a:lnTo>
                    <a:pt x="718" y="436"/>
                  </a:lnTo>
                  <a:lnTo>
                    <a:pt x="724" y="400"/>
                  </a:lnTo>
                  <a:lnTo>
                    <a:pt x="726" y="362"/>
                  </a:lnTo>
                  <a:lnTo>
                    <a:pt x="724" y="326"/>
                  </a:lnTo>
                  <a:lnTo>
                    <a:pt x="718" y="290"/>
                  </a:lnTo>
                  <a:lnTo>
                    <a:pt x="710" y="254"/>
                  </a:lnTo>
                  <a:lnTo>
                    <a:pt x="698" y="222"/>
                  </a:lnTo>
                  <a:lnTo>
                    <a:pt x="682" y="190"/>
                  </a:lnTo>
                  <a:lnTo>
                    <a:pt x="664" y="160"/>
                  </a:lnTo>
                  <a:lnTo>
                    <a:pt x="644" y="132"/>
                  </a:lnTo>
                  <a:lnTo>
                    <a:pt x="620" y="106"/>
                  </a:lnTo>
                  <a:lnTo>
                    <a:pt x="594" y="82"/>
                  </a:lnTo>
                  <a:lnTo>
                    <a:pt x="566" y="62"/>
                  </a:lnTo>
                  <a:lnTo>
                    <a:pt x="536" y="44"/>
                  </a:lnTo>
                  <a:lnTo>
                    <a:pt x="504" y="28"/>
                  </a:lnTo>
                  <a:lnTo>
                    <a:pt x="472" y="16"/>
                  </a:lnTo>
                  <a:lnTo>
                    <a:pt x="436" y="8"/>
                  </a:lnTo>
                  <a:lnTo>
                    <a:pt x="400" y="2"/>
                  </a:lnTo>
                  <a:lnTo>
                    <a:pt x="364" y="0"/>
                  </a:lnTo>
                  <a:close/>
                  <a:moveTo>
                    <a:pt x="232" y="250"/>
                  </a:moveTo>
                  <a:lnTo>
                    <a:pt x="232" y="174"/>
                  </a:lnTo>
                  <a:lnTo>
                    <a:pt x="272" y="174"/>
                  </a:lnTo>
                  <a:lnTo>
                    <a:pt x="272" y="210"/>
                  </a:lnTo>
                  <a:lnTo>
                    <a:pt x="232" y="250"/>
                  </a:lnTo>
                  <a:close/>
                  <a:moveTo>
                    <a:pt x="530" y="320"/>
                  </a:moveTo>
                  <a:lnTo>
                    <a:pt x="502" y="320"/>
                  </a:lnTo>
                  <a:lnTo>
                    <a:pt x="502" y="558"/>
                  </a:lnTo>
                  <a:lnTo>
                    <a:pt x="232" y="558"/>
                  </a:lnTo>
                  <a:lnTo>
                    <a:pt x="232" y="320"/>
                  </a:lnTo>
                  <a:lnTo>
                    <a:pt x="204" y="320"/>
                  </a:lnTo>
                  <a:lnTo>
                    <a:pt x="366" y="156"/>
                  </a:lnTo>
                  <a:lnTo>
                    <a:pt x="530" y="3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4174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Main shopper with children: 4 fast fa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378237" y="1359529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2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0"/>
          </p:nvPr>
        </p:nvSpPr>
        <p:spPr>
          <a:xfrm>
            <a:off x="2321084" y="1993390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1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idx="11"/>
          </p:nvPr>
        </p:nvSpPr>
        <p:spPr>
          <a:xfrm>
            <a:off x="800080" y="4585932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3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>
          <a:xfrm>
            <a:off x="7961789" y="455974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4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3"/>
          </p:nvPr>
        </p:nvSpPr>
        <p:spPr>
          <a:xfrm>
            <a:off x="1478280" y="4557874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tx2"/>
                </a:solidFill>
              </a:rPr>
              <a:t>21%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b="0" dirty="0" smtClean="0">
                <a:solidFill>
                  <a:schemeClr val="tx2"/>
                </a:solidFill>
              </a:rPr>
              <a:t>of all UK</a:t>
            </a:r>
            <a:br>
              <a:rPr lang="en-US" b="0" dirty="0" smtClean="0">
                <a:solidFill>
                  <a:schemeClr val="tx2"/>
                </a:solidFill>
              </a:rPr>
            </a:br>
            <a:r>
              <a:rPr lang="en-US" sz="2800" b="0" dirty="0" smtClean="0">
                <a:solidFill>
                  <a:schemeClr val="tx2"/>
                </a:solidFill>
              </a:rPr>
              <a:t>cinema admissions</a:t>
            </a:r>
            <a:endParaRPr lang="en-US" sz="2800" b="0" dirty="0">
              <a:solidFill>
                <a:schemeClr val="tx2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4"/>
          </p:nvPr>
        </p:nvSpPr>
        <p:spPr>
          <a:xfrm>
            <a:off x="5665470" y="2369463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tx2"/>
                </a:solidFill>
              </a:rPr>
              <a:t>36</a:t>
            </a:r>
            <a:r>
              <a:rPr lang="en-US" sz="2800" dirty="0" smtClean="0">
                <a:solidFill>
                  <a:schemeClr val="tx2"/>
                </a:solidFill>
              </a:rPr>
              <a:t> </a:t>
            </a:r>
            <a:r>
              <a:rPr lang="en-US" sz="2800" b="0" dirty="0" smtClean="0">
                <a:solidFill>
                  <a:schemeClr val="tx2"/>
                </a:solidFill>
              </a:rPr>
              <a:t>million</a:t>
            </a:r>
            <a:br>
              <a:rPr lang="en-US" sz="2800" b="0" dirty="0" smtClean="0">
                <a:solidFill>
                  <a:schemeClr val="tx2"/>
                </a:solidFill>
              </a:rPr>
            </a:br>
            <a:r>
              <a:rPr lang="en-US" sz="2800" b="0" dirty="0" smtClean="0">
                <a:solidFill>
                  <a:schemeClr val="tx2"/>
                </a:solidFill>
              </a:rPr>
              <a:t>admissions</a:t>
            </a:r>
            <a:endParaRPr lang="en-US" sz="2800" b="0" dirty="0">
              <a:solidFill>
                <a:schemeClr val="tx2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5"/>
          </p:nvPr>
        </p:nvSpPr>
        <p:spPr>
          <a:xfrm>
            <a:off x="5376543" y="5646119"/>
            <a:ext cx="2651760" cy="477054"/>
          </a:xfrm>
        </p:spPr>
        <p:txBody>
          <a:bodyPr/>
          <a:lstStyle/>
          <a:p>
            <a:r>
              <a:rPr lang="en-US" b="0" dirty="0" smtClean="0"/>
              <a:t>Visits per year</a:t>
            </a:r>
            <a:endParaRPr lang="en-US" b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6"/>
          </p:nvPr>
        </p:nvSpPr>
        <p:spPr>
          <a:xfrm>
            <a:off x="5376543" y="3981707"/>
            <a:ext cx="2651760" cy="1908215"/>
          </a:xfrm>
        </p:spPr>
        <p:txBody>
          <a:bodyPr/>
          <a:lstStyle/>
          <a:p>
            <a:r>
              <a:rPr lang="en-US" dirty="0" smtClean="0"/>
              <a:t>5.6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7"/>
          </p:nvPr>
        </p:nvSpPr>
        <p:spPr>
          <a:xfrm>
            <a:off x="586740" y="2389860"/>
            <a:ext cx="4297680" cy="984885"/>
          </a:xfrm>
        </p:spPr>
        <p:txBody>
          <a:bodyPr/>
          <a:lstStyle/>
          <a:p>
            <a:r>
              <a:rPr lang="en-US" sz="5800" dirty="0" smtClean="0"/>
              <a:t>90% </a:t>
            </a:r>
            <a:r>
              <a:rPr lang="en-US" sz="2800" b="0" dirty="0" smtClean="0"/>
              <a:t>are cinemagoers</a:t>
            </a:r>
            <a:endParaRPr lang="en-US" sz="2800" b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6938434"/>
            <a:ext cx="5363269" cy="33855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sz="800" dirty="0" smtClean="0"/>
              <a:t>Source: </a:t>
            </a:r>
            <a:r>
              <a:rPr lang="en-GB" sz="800" b="0" dirty="0"/>
              <a:t>1. TGI </a:t>
            </a:r>
            <a:r>
              <a:rPr lang="en-GB" sz="800" b="0" dirty="0" smtClean="0"/>
              <a:t>GB 2017 Q1 - </a:t>
            </a:r>
            <a:r>
              <a:rPr lang="en-US" sz="800" b="0" dirty="0"/>
              <a:t>up </a:t>
            </a:r>
            <a:r>
              <a:rPr lang="en-US" sz="800" b="0" dirty="0" smtClean="0"/>
              <a:t>34% </a:t>
            </a:r>
            <a:r>
              <a:rPr lang="en-US" sz="800" b="0" dirty="0"/>
              <a:t>from 2011 (Source: TGI GB Q1 2012</a:t>
            </a:r>
            <a:r>
              <a:rPr lang="en-US" sz="800" b="0" dirty="0" smtClean="0"/>
              <a:t>)</a:t>
            </a:r>
            <a:endParaRPr lang="en-GB" sz="800" b="0" dirty="0" smtClean="0"/>
          </a:p>
          <a:p>
            <a:pPr lvl="0"/>
            <a:r>
              <a:rPr lang="en-GB" sz="800" b="0" dirty="0" smtClean="0"/>
              <a:t>2-4</a:t>
            </a:r>
            <a:r>
              <a:rPr lang="en-GB" sz="800" b="0" dirty="0"/>
              <a:t>. CAA Film Monitor Coverage &amp; Frequency </a:t>
            </a:r>
            <a:r>
              <a:rPr lang="en-GB" sz="800" b="0" dirty="0" smtClean="0"/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65346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0" t="4837" r="15461" b="13854"/>
          <a:stretch/>
        </p:blipFill>
        <p:spPr>
          <a:xfrm>
            <a:off x="0" y="-21021"/>
            <a:ext cx="10082464" cy="6842926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29049" y="4368655"/>
            <a:ext cx="625948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OOLKIT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237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3643996" y="291929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040128" y="291929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7439378" y="291929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829818" y="291929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70000" y="266002"/>
            <a:ext cx="9308541" cy="409568"/>
          </a:xfrm>
        </p:spPr>
        <p:txBody>
          <a:bodyPr/>
          <a:lstStyle/>
          <a:p>
            <a:r>
              <a:rPr lang="en-US" dirty="0" smtClean="0"/>
              <a:t>How to Buy Cinema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82246" y="685097"/>
            <a:ext cx="9316338" cy="436608"/>
          </a:xfrm>
        </p:spPr>
        <p:txBody>
          <a:bodyPr lIns="0" rIns="0"/>
          <a:lstStyle/>
          <a:p>
            <a:r>
              <a:rPr lang="en-GB" dirty="0"/>
              <a:t>Reaching </a:t>
            </a:r>
            <a:r>
              <a:rPr lang="en-US" dirty="0"/>
              <a:t>Main </a:t>
            </a:r>
            <a:r>
              <a:rPr lang="en-US" dirty="0" smtClean="0"/>
              <a:t>Shoppers </a:t>
            </a:r>
            <a:r>
              <a:rPr lang="en-US" dirty="0"/>
              <a:t>with </a:t>
            </a:r>
            <a:r>
              <a:rPr lang="en-US" dirty="0" smtClean="0"/>
              <a:t>Children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607108" y="325806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607108" y="3411459"/>
            <a:ext cx="2173422" cy="795978"/>
          </a:xfrm>
        </p:spPr>
        <p:txBody>
          <a:bodyPr/>
          <a:lstStyle/>
          <a:p>
            <a:r>
              <a:rPr lang="en-US" sz="4700" dirty="0" smtClean="0"/>
              <a:t>£60</a:t>
            </a:r>
            <a:endParaRPr lang="en-US" sz="4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429289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</a:t>
            </a:r>
            <a:r>
              <a:rPr lang="en-US" sz="800" b="0" dirty="0" smtClean="0"/>
              <a:t>&amp; </a:t>
            </a:r>
            <a:r>
              <a:rPr lang="en-US" sz="800" b="0" dirty="0"/>
              <a:t>Frequency </a:t>
            </a:r>
            <a:r>
              <a:rPr lang="en-US" sz="800" b="0" dirty="0" smtClean="0"/>
              <a:t>2016 </a:t>
            </a:r>
            <a:endParaRPr lang="en-US" sz="8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693819" y="236603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idx="17"/>
          </p:nvPr>
        </p:nvSpPr>
        <p:spPr>
          <a:xfrm>
            <a:off x="607108" y="1690864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AGP</a:t>
            </a:r>
            <a:endParaRPr lang="en-US" b="0" dirty="0">
              <a:solidFill>
                <a:schemeClr val="accent6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507997" y="236603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idx="17"/>
          </p:nvPr>
        </p:nvSpPr>
        <p:spPr>
          <a:xfrm>
            <a:off x="3421286" y="1690864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Family </a:t>
            </a:r>
            <a:r>
              <a:rPr lang="en-US" b="0" dirty="0" err="1" smtClean="0">
                <a:solidFill>
                  <a:schemeClr val="accent6"/>
                </a:solidFill>
              </a:rPr>
              <a:t>agp</a:t>
            </a:r>
            <a:endParaRPr lang="en-US" b="0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7569456" y="236603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idx="17"/>
          </p:nvPr>
        </p:nvSpPr>
        <p:spPr>
          <a:xfrm>
            <a:off x="6487278" y="1690864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FILM PACK</a:t>
            </a:r>
            <a:endParaRPr lang="en-US" b="0" dirty="0">
              <a:solidFill>
                <a:schemeClr val="accent6"/>
              </a:solidFill>
            </a:endParaRPr>
          </a:p>
        </p:txBody>
      </p:sp>
      <p:sp>
        <p:nvSpPr>
          <p:cNvPr id="40" name="Text Placeholder 19"/>
          <p:cNvSpPr>
            <a:spLocks noGrp="1"/>
          </p:cNvSpPr>
          <p:nvPr>
            <p:ph type="body" idx="19"/>
          </p:nvPr>
        </p:nvSpPr>
        <p:spPr>
          <a:xfrm>
            <a:off x="3421286" y="325806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ph type="body" idx="20"/>
          </p:nvPr>
        </p:nvSpPr>
        <p:spPr>
          <a:xfrm>
            <a:off x="3421286" y="3411459"/>
            <a:ext cx="2173422" cy="795978"/>
          </a:xfrm>
        </p:spPr>
        <p:txBody>
          <a:bodyPr/>
          <a:lstStyle/>
          <a:p>
            <a:r>
              <a:rPr lang="en-US" sz="4700" dirty="0" smtClean="0"/>
              <a:t>£34</a:t>
            </a:r>
            <a:endParaRPr lang="en-US" sz="4700" dirty="0"/>
          </a:p>
        </p:txBody>
      </p:sp>
      <p:sp>
        <p:nvSpPr>
          <p:cNvPr id="43" name="Text Placeholder 19"/>
          <p:cNvSpPr>
            <a:spLocks noGrp="1"/>
          </p:cNvSpPr>
          <p:nvPr>
            <p:ph type="body" idx="19"/>
          </p:nvPr>
        </p:nvSpPr>
        <p:spPr>
          <a:xfrm>
            <a:off x="5817418" y="325806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idx="20"/>
          </p:nvPr>
        </p:nvSpPr>
        <p:spPr>
          <a:xfrm>
            <a:off x="5817418" y="3411459"/>
            <a:ext cx="2173422" cy="795978"/>
          </a:xfrm>
        </p:spPr>
        <p:txBody>
          <a:bodyPr/>
          <a:lstStyle/>
          <a:p>
            <a:r>
              <a:rPr lang="en-US" sz="4700" dirty="0" smtClean="0"/>
              <a:t>£80</a:t>
            </a:r>
            <a:endParaRPr lang="en-US" sz="4700" dirty="0"/>
          </a:p>
        </p:txBody>
      </p:sp>
      <p:sp>
        <p:nvSpPr>
          <p:cNvPr id="46" name="Text Placeholder 19"/>
          <p:cNvSpPr>
            <a:spLocks noGrp="1"/>
          </p:cNvSpPr>
          <p:nvPr>
            <p:ph type="body" idx="19"/>
          </p:nvPr>
        </p:nvSpPr>
        <p:spPr>
          <a:xfrm>
            <a:off x="7216668" y="325806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idx="20"/>
          </p:nvPr>
        </p:nvSpPr>
        <p:spPr>
          <a:xfrm>
            <a:off x="7216668" y="3411459"/>
            <a:ext cx="2173422" cy="795978"/>
          </a:xfrm>
        </p:spPr>
        <p:txBody>
          <a:bodyPr/>
          <a:lstStyle/>
          <a:p>
            <a:r>
              <a:rPr lang="en-US" sz="4700" dirty="0" smtClean="0"/>
              <a:t>£100</a:t>
            </a:r>
            <a:endParaRPr lang="en-US" sz="4700" dirty="0"/>
          </a:p>
        </p:txBody>
      </p:sp>
      <p:sp>
        <p:nvSpPr>
          <p:cNvPr id="48" name="Text Placeholder 19"/>
          <p:cNvSpPr>
            <a:spLocks noGrp="1"/>
          </p:cNvSpPr>
          <p:nvPr>
            <p:ph type="body" idx="19"/>
          </p:nvPr>
        </p:nvSpPr>
        <p:spPr>
          <a:xfrm>
            <a:off x="5862243" y="4080191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Non-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Text Placeholder 19"/>
          <p:cNvSpPr>
            <a:spLocks noGrp="1"/>
          </p:cNvSpPr>
          <p:nvPr>
            <p:ph type="body" idx="19"/>
          </p:nvPr>
        </p:nvSpPr>
        <p:spPr>
          <a:xfrm>
            <a:off x="7243563" y="4080191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792774" y="4287436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6570064" y="4626212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idx="20"/>
          </p:nvPr>
        </p:nvSpPr>
        <p:spPr>
          <a:xfrm>
            <a:off x="6570064" y="4779602"/>
            <a:ext cx="2173422" cy="795978"/>
          </a:xfrm>
        </p:spPr>
        <p:txBody>
          <a:bodyPr/>
          <a:lstStyle/>
          <a:p>
            <a:r>
              <a:rPr lang="en-US" sz="4700" dirty="0" smtClean="0"/>
              <a:t>£120</a:t>
            </a:r>
            <a:endParaRPr lang="en-US" sz="4700" dirty="0"/>
          </a:p>
        </p:txBody>
      </p:sp>
      <p:sp>
        <p:nvSpPr>
          <p:cNvPr id="35" name="Text Placeholder 19"/>
          <p:cNvSpPr>
            <a:spLocks noGrp="1"/>
          </p:cNvSpPr>
          <p:nvPr>
            <p:ph type="body" idx="19"/>
          </p:nvPr>
        </p:nvSpPr>
        <p:spPr>
          <a:xfrm>
            <a:off x="6570064" y="5448334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Super 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81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70000" y="265827"/>
            <a:ext cx="9308541" cy="409568"/>
          </a:xfrm>
        </p:spPr>
        <p:txBody>
          <a:bodyPr/>
          <a:lstStyle/>
          <a:p>
            <a:r>
              <a:rPr lang="en-US" dirty="0"/>
              <a:t>Toolki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</a:t>
            </a:r>
            <a:r>
              <a:rPr lang="en-US" sz="800" b="0" dirty="0" smtClean="0"/>
              <a:t>&amp; </a:t>
            </a:r>
            <a:r>
              <a:rPr lang="en-US" sz="800" b="0" dirty="0"/>
              <a:t>Frequency </a:t>
            </a:r>
            <a:r>
              <a:rPr lang="en-US" sz="800" b="0" dirty="0" smtClean="0"/>
              <a:t>2016 </a:t>
            </a:r>
            <a:endParaRPr lang="en-US" sz="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70000" y="722918"/>
            <a:ext cx="9316338" cy="436608"/>
          </a:xfrm>
        </p:spPr>
        <p:txBody>
          <a:bodyPr lIns="0" rIns="0"/>
          <a:lstStyle/>
          <a:p>
            <a:r>
              <a:rPr lang="en-GB" dirty="0"/>
              <a:t>AGP - Audience Reach </a:t>
            </a:r>
            <a:r>
              <a:rPr lang="en-GB" dirty="0" smtClean="0"/>
              <a:t>– </a:t>
            </a:r>
            <a:r>
              <a:rPr lang="en-US" dirty="0"/>
              <a:t>Main Shopper with </a:t>
            </a:r>
            <a:r>
              <a:rPr lang="en-US" dirty="0" smtClean="0"/>
              <a:t>Children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reach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9"/>
          </p:nvPr>
        </p:nvSpPr>
        <p:spPr>
          <a:xfrm>
            <a:off x="1968000" y="2394625"/>
            <a:ext cx="1219084" cy="584775"/>
          </a:xfrm>
        </p:spPr>
        <p:txBody>
          <a:bodyPr/>
          <a:lstStyle/>
          <a:p>
            <a:r>
              <a:rPr lang="en-US" b="0" dirty="0" smtClean="0"/>
              <a:t>Time period</a:t>
            </a:r>
            <a:endParaRPr lang="en-US" b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0"/>
          </p:nvPr>
        </p:nvSpPr>
        <p:spPr>
          <a:xfrm>
            <a:off x="3645880" y="2394625"/>
            <a:ext cx="1617236" cy="584775"/>
          </a:xfrm>
        </p:spPr>
        <p:txBody>
          <a:bodyPr/>
          <a:lstStyle/>
          <a:p>
            <a:r>
              <a:rPr lang="en-US" b="0" dirty="0" smtClean="0"/>
              <a:t>Audience</a:t>
            </a:r>
          </a:p>
          <a:p>
            <a:r>
              <a:rPr lang="en-US" b="0" smtClean="0"/>
              <a:t>(000’s)</a:t>
            </a:r>
            <a:endParaRPr lang="en-US" b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US" b="0" dirty="0" smtClean="0"/>
              <a:t>Reach %</a:t>
            </a:r>
            <a:endParaRPr lang="en-US" b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US" b="0" dirty="0" smtClean="0"/>
              <a:t>frequency</a:t>
            </a:r>
            <a:endParaRPr lang="en-US" b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1 week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24"/>
          </p:nvPr>
        </p:nvSpPr>
        <p:spPr>
          <a:xfrm>
            <a:off x="3657807" y="3205411"/>
            <a:ext cx="1169374" cy="2790508"/>
          </a:xfrm>
        </p:spPr>
        <p:txBody>
          <a:bodyPr/>
          <a:lstStyle/>
          <a:p>
            <a:r>
              <a:rPr lang="en-US" b="0" dirty="0" smtClean="0"/>
              <a:t>691</a:t>
            </a:r>
            <a:endParaRPr lang="en-US" b="0" dirty="0"/>
          </a:p>
          <a:p>
            <a:r>
              <a:rPr lang="en-US" b="0" dirty="0" smtClean="0"/>
              <a:t>1940</a:t>
            </a:r>
            <a:endParaRPr lang="en-US" b="0" dirty="0"/>
          </a:p>
          <a:p>
            <a:r>
              <a:rPr lang="en-US" b="0" dirty="0" smtClean="0"/>
              <a:t>3015</a:t>
            </a:r>
          </a:p>
          <a:p>
            <a:r>
              <a:rPr lang="en-US" b="0" dirty="0" smtClean="0"/>
              <a:t>3748</a:t>
            </a:r>
            <a:endParaRPr lang="en-US" b="0" dirty="0"/>
          </a:p>
          <a:p>
            <a:r>
              <a:rPr lang="en-US" b="0" dirty="0" smtClean="0"/>
              <a:t>4288</a:t>
            </a:r>
            <a:endParaRPr lang="en-US" b="0" dirty="0"/>
          </a:p>
          <a:p>
            <a:r>
              <a:rPr lang="en-US" b="0" dirty="0" smtClean="0"/>
              <a:t>4707</a:t>
            </a:r>
            <a:endParaRPr lang="en-US" b="0" dirty="0"/>
          </a:p>
          <a:p>
            <a:r>
              <a:rPr lang="en-US" b="0" dirty="0" smtClean="0"/>
              <a:t>5190</a:t>
            </a:r>
            <a:endParaRPr lang="en-US" b="0" dirty="0"/>
          </a:p>
          <a:p>
            <a:r>
              <a:rPr lang="en-US" b="0" dirty="0" smtClean="0"/>
              <a:t>6388</a:t>
            </a:r>
            <a:endParaRPr lang="en-US" b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25"/>
          </p:nvPr>
        </p:nvSpPr>
        <p:spPr>
          <a:xfrm>
            <a:off x="5350393" y="3205411"/>
            <a:ext cx="1167365" cy="2790508"/>
          </a:xfrm>
        </p:spPr>
        <p:txBody>
          <a:bodyPr/>
          <a:lstStyle/>
          <a:p>
            <a:r>
              <a:rPr lang="en-US" b="0" dirty="0" smtClean="0"/>
              <a:t>6</a:t>
            </a:r>
          </a:p>
          <a:p>
            <a:r>
              <a:rPr lang="en-US" b="0" dirty="0" smtClean="0"/>
              <a:t>17</a:t>
            </a:r>
          </a:p>
          <a:p>
            <a:r>
              <a:rPr lang="en-US" b="0" dirty="0" smtClean="0"/>
              <a:t>26</a:t>
            </a:r>
          </a:p>
          <a:p>
            <a:r>
              <a:rPr lang="en-US" b="0" dirty="0" smtClean="0"/>
              <a:t>33</a:t>
            </a:r>
          </a:p>
          <a:p>
            <a:r>
              <a:rPr lang="en-US" b="0" dirty="0" smtClean="0"/>
              <a:t>38</a:t>
            </a:r>
          </a:p>
          <a:p>
            <a:r>
              <a:rPr lang="en-US" b="0" dirty="0" smtClean="0"/>
              <a:t>41</a:t>
            </a:r>
          </a:p>
          <a:p>
            <a:r>
              <a:rPr lang="en-US" b="0" dirty="0" smtClean="0"/>
              <a:t>44</a:t>
            </a:r>
          </a:p>
          <a:p>
            <a:r>
              <a:rPr lang="en-US" b="0" dirty="0" smtClean="0"/>
              <a:t>56</a:t>
            </a:r>
            <a:endParaRPr lang="en-US" b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26"/>
          </p:nvPr>
        </p:nvSpPr>
        <p:spPr>
          <a:xfrm>
            <a:off x="7046028" y="3205411"/>
            <a:ext cx="1220786" cy="2790508"/>
          </a:xfrm>
        </p:spPr>
        <p:txBody>
          <a:bodyPr/>
          <a:lstStyle/>
          <a:p>
            <a:r>
              <a:rPr lang="en-US" b="0" dirty="0" smtClean="0"/>
              <a:t>1.00</a:t>
            </a:r>
          </a:p>
          <a:p>
            <a:r>
              <a:rPr lang="en-US" b="0" dirty="0" smtClean="0"/>
              <a:t>1.43</a:t>
            </a:r>
          </a:p>
          <a:p>
            <a:r>
              <a:rPr lang="en-US" b="0" dirty="0" smtClean="0"/>
              <a:t>1.83</a:t>
            </a:r>
          </a:p>
          <a:p>
            <a:r>
              <a:rPr lang="en-US" b="0" dirty="0" smtClean="0"/>
              <a:t>2.21</a:t>
            </a:r>
          </a:p>
          <a:p>
            <a:r>
              <a:rPr lang="en-US" b="0" dirty="0" smtClean="0"/>
              <a:t>2.58</a:t>
            </a:r>
          </a:p>
          <a:p>
            <a:r>
              <a:rPr lang="en-US" b="0" dirty="0" smtClean="0"/>
              <a:t>2.94</a:t>
            </a:r>
          </a:p>
          <a:p>
            <a:r>
              <a:rPr lang="en-US" b="0" dirty="0" smtClean="0"/>
              <a:t>3.46</a:t>
            </a:r>
          </a:p>
          <a:p>
            <a:r>
              <a:rPr lang="en-US" b="0" dirty="0" smtClean="0"/>
              <a:t>5.63</a:t>
            </a:r>
            <a:endParaRPr lang="en-US" b="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1 month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2 months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3 months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4 months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5 months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idx="32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6 months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33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12 months</a:t>
            </a:r>
            <a:endParaRPr lang="en-US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2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GETTING TO KNOW THEM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4"/>
          </p:nvPr>
        </p:nvSpPr>
        <p:spPr>
          <a:xfrm>
            <a:off x="1569719" y="2170348"/>
            <a:ext cx="2781301" cy="1066959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Who are they?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idx="15"/>
          </p:nvPr>
        </p:nvSpPr>
        <p:spPr>
          <a:xfrm>
            <a:off x="5730239" y="2126299"/>
            <a:ext cx="2781301" cy="1246495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What does</a:t>
            </a:r>
            <a:br>
              <a:rPr lang="en-US" b="0" dirty="0" smtClean="0">
                <a:solidFill>
                  <a:schemeClr val="tx2"/>
                </a:solidFill>
              </a:rPr>
            </a:br>
            <a:r>
              <a:rPr lang="en-US" b="0" dirty="0" smtClean="0">
                <a:solidFill>
                  <a:schemeClr val="tx2"/>
                </a:solidFill>
              </a:rPr>
              <a:t>cinema mean </a:t>
            </a:r>
            <a:br>
              <a:rPr lang="en-US" b="0" dirty="0" smtClean="0">
                <a:solidFill>
                  <a:schemeClr val="tx2"/>
                </a:solidFill>
              </a:rPr>
            </a:br>
            <a:r>
              <a:rPr lang="en-US" b="0" dirty="0" smtClean="0">
                <a:solidFill>
                  <a:schemeClr val="tx2"/>
                </a:solidFill>
              </a:rPr>
              <a:t>to them?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6"/>
          </p:nvPr>
        </p:nvSpPr>
        <p:spPr>
          <a:xfrm>
            <a:off x="1181100" y="5634293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Happy kids = happy parents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7"/>
          </p:nvPr>
        </p:nvSpPr>
        <p:spPr>
          <a:xfrm>
            <a:off x="1181100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Difficult to balance busy life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8"/>
          </p:nvPr>
        </p:nvSpPr>
        <p:spPr>
          <a:xfrm>
            <a:off x="1181100" y="4822763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Love their family time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5333365" y="563429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Entertainment for kids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5333365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Affordable family activity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5333365" y="482276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Quality bonding time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" t="3611" r="10959" b="9792"/>
          <a:stretch/>
        </p:blipFill>
        <p:spPr>
          <a:xfrm>
            <a:off x="0" y="-1"/>
            <a:ext cx="10086680" cy="6802735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672844" y="3193520"/>
            <a:ext cx="657685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b="0" dirty="0" smtClean="0"/>
              <a:t>MAIN SHOPPER WITH children SPEND 3 </a:t>
            </a:r>
            <a:r>
              <a:rPr lang="en-US" sz="4000" b="0" dirty="0"/>
              <a:t>HOURS PER DAY CONSUMING </a:t>
            </a:r>
            <a:r>
              <a:rPr lang="en-US" sz="4000" b="0" dirty="0" smtClean="0"/>
              <a:t>AV</a:t>
            </a:r>
            <a:endParaRPr lang="en-US" sz="4000" b="0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92431"/>
            <a:ext cx="5363269" cy="2000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</a:t>
            </a:r>
            <a:r>
              <a:rPr lang="en-US" sz="800" b="0" dirty="0" smtClean="0">
                <a:solidFill>
                  <a:schemeClr val="bg1"/>
                </a:solidFill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644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29864" y="7101318"/>
            <a:ext cx="5363269" cy="215444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GB" sz="800" b="0" dirty="0"/>
              <a:t>IPA Touchpoints </a:t>
            </a:r>
            <a:r>
              <a:rPr lang="en-GB" sz="800" b="0" dirty="0" smtClean="0"/>
              <a:t>2016</a:t>
            </a:r>
            <a:r>
              <a:rPr lang="en-US" sz="800" b="0" dirty="0" smtClean="0"/>
              <a:t> </a:t>
            </a:r>
            <a:endParaRPr lang="en-US" sz="800" b="0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idx="17"/>
          </p:nvPr>
        </p:nvSpPr>
        <p:spPr>
          <a:xfrm>
            <a:off x="443077" y="3589948"/>
            <a:ext cx="2618831" cy="719034"/>
          </a:xfrm>
        </p:spPr>
        <p:txBody>
          <a:bodyPr/>
          <a:lstStyle/>
          <a:p>
            <a:r>
              <a:rPr lang="en-US" sz="1400" b="0" dirty="0">
                <a:solidFill>
                  <a:schemeClr val="tx2"/>
                </a:solidFill>
              </a:rPr>
              <a:t>Average </a:t>
            </a:r>
            <a:r>
              <a:rPr lang="en-US" sz="1400" b="0" dirty="0" smtClean="0">
                <a:solidFill>
                  <a:schemeClr val="tx2"/>
                </a:solidFill>
              </a:rPr>
              <a:t>time </a:t>
            </a:r>
            <a:r>
              <a:rPr lang="en-US" sz="1400" b="0" dirty="0">
                <a:solidFill>
                  <a:schemeClr val="tx2"/>
                </a:solidFill>
              </a:rPr>
              <a:t>per </a:t>
            </a:r>
            <a:r>
              <a:rPr lang="en-US" sz="1400" b="0" dirty="0" smtClean="0">
                <a:solidFill>
                  <a:schemeClr val="tx2"/>
                </a:solidFill>
              </a:rPr>
              <a:t>day</a:t>
            </a:r>
          </a:p>
          <a:p>
            <a:r>
              <a:rPr lang="en-US" sz="1400" b="0" dirty="0" smtClean="0">
                <a:solidFill>
                  <a:schemeClr val="tx2"/>
                </a:solidFill>
              </a:rPr>
              <a:t>Main shoppers with children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idx="17"/>
          </p:nvPr>
        </p:nvSpPr>
        <p:spPr>
          <a:xfrm>
            <a:off x="441469" y="4679711"/>
            <a:ext cx="2305812" cy="503590"/>
          </a:xfrm>
        </p:spPr>
        <p:txBody>
          <a:bodyPr/>
          <a:lstStyle/>
          <a:p>
            <a:r>
              <a:rPr lang="en-US" sz="1400" b="0" i="1" dirty="0" smtClean="0">
                <a:solidFill>
                  <a:schemeClr val="tx2"/>
                </a:solidFill>
              </a:rPr>
              <a:t>Average time </a:t>
            </a:r>
            <a:r>
              <a:rPr lang="en-US" sz="1400" b="0" i="1" dirty="0">
                <a:solidFill>
                  <a:schemeClr val="tx2"/>
                </a:solidFill>
              </a:rPr>
              <a:t>per </a:t>
            </a:r>
            <a:r>
              <a:rPr lang="en-US" sz="1400" b="0" i="1" dirty="0" smtClean="0">
                <a:solidFill>
                  <a:schemeClr val="tx2"/>
                </a:solidFill>
              </a:rPr>
              <a:t>day</a:t>
            </a:r>
          </a:p>
          <a:p>
            <a:r>
              <a:rPr lang="en-US" sz="1400" b="0" i="1" dirty="0" smtClean="0">
                <a:solidFill>
                  <a:schemeClr val="tx2"/>
                </a:solidFill>
              </a:rPr>
              <a:t>16+ adults</a:t>
            </a:r>
            <a:endParaRPr lang="en-US" b="0" i="1" dirty="0">
              <a:solidFill>
                <a:schemeClr val="tx2"/>
              </a:solidFill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2 hours 42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44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23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3 hours 10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42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30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2" name="Title 11"/>
          <p:cNvSpPr>
            <a:spLocks noGrp="1"/>
          </p:cNvSpPr>
          <p:nvPr>
            <p:ph type="title"/>
          </p:nvPr>
        </p:nvSpPr>
        <p:spPr>
          <a:xfrm>
            <a:off x="270000" y="267404"/>
            <a:ext cx="9308541" cy="409568"/>
          </a:xfrm>
        </p:spPr>
        <p:txBody>
          <a:bodyPr/>
          <a:lstStyle/>
          <a:p>
            <a:r>
              <a:rPr lang="en-US" dirty="0" err="1" smtClean="0"/>
              <a:t>av</a:t>
            </a:r>
            <a:r>
              <a:rPr lang="en-US" dirty="0" smtClean="0"/>
              <a:t> consumption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66101" y="718815"/>
            <a:ext cx="9316338" cy="436608"/>
          </a:xfrm>
        </p:spPr>
        <p:txBody>
          <a:bodyPr lIns="0" rIns="0"/>
          <a:lstStyle/>
          <a:p>
            <a:r>
              <a:rPr lang="en-US" dirty="0" smtClean="0"/>
              <a:t>How it breaks down for main shoppers with children</a:t>
            </a:r>
            <a:endParaRPr lang="en-US" dirty="0"/>
          </a:p>
        </p:txBody>
      </p:sp>
      <p:sp>
        <p:nvSpPr>
          <p:cNvPr id="34" name="Content Placeholder 12"/>
          <p:cNvSpPr txBox="1">
            <a:spLocks/>
          </p:cNvSpPr>
          <p:nvPr/>
        </p:nvSpPr>
        <p:spPr bwMode="gray">
          <a:xfrm>
            <a:off x="3025139" y="2223196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9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Live </a:t>
            </a:r>
            <a:r>
              <a:rPr lang="en-US" b="0" dirty="0" err="1" smtClean="0"/>
              <a:t>tv</a:t>
            </a:r>
            <a:endParaRPr lang="en-US" b="0" dirty="0" smtClean="0"/>
          </a:p>
          <a:p>
            <a:pPr lvl="1"/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BBC, ITV,</a:t>
            </a:r>
            <a:br>
              <a:rPr lang="en-US" sz="1100" dirty="0" smtClean="0">
                <a:latin typeface="Arial" charset="0"/>
                <a:ea typeface="Arial" charset="0"/>
                <a:cs typeface="Arial" charset="0"/>
              </a:rPr>
            </a:br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C4, Sky 1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Content Placeholder 15"/>
          <p:cNvSpPr>
            <a:spLocks noGrp="1"/>
          </p:cNvSpPr>
          <p:nvPr>
            <p:ph idx="15"/>
          </p:nvPr>
        </p:nvSpPr>
        <p:spPr>
          <a:xfrm>
            <a:off x="5394959" y="2203960"/>
            <a:ext cx="1652135" cy="601147"/>
          </a:xfrm>
        </p:spPr>
        <p:txBody>
          <a:bodyPr/>
          <a:lstStyle/>
          <a:p>
            <a:r>
              <a:rPr lang="en-US" b="0" dirty="0" smtClean="0"/>
              <a:t>Long </a:t>
            </a:r>
            <a:br>
              <a:rPr lang="en-US" b="0" dirty="0" smtClean="0"/>
            </a:br>
            <a:r>
              <a:rPr lang="en-US" b="0" dirty="0" smtClean="0"/>
              <a:t>form </a:t>
            </a:r>
            <a:r>
              <a:rPr lang="en-US" b="0" dirty="0" err="1" smtClean="0"/>
              <a:t>vod</a:t>
            </a:r>
            <a:endParaRPr lang="en-US" b="0" dirty="0" smtClean="0"/>
          </a:p>
          <a:p>
            <a:pPr lvl="1"/>
            <a:r>
              <a:rPr lang="en-US" sz="1100" dirty="0" smtClean="0"/>
              <a:t>Netflix, </a:t>
            </a:r>
            <a:r>
              <a:rPr lang="en-US" sz="1100" dirty="0" err="1" smtClean="0"/>
              <a:t>iPlayer</a:t>
            </a:r>
            <a:r>
              <a:rPr lang="en-US" sz="1100" dirty="0" smtClean="0"/>
              <a:t>,</a:t>
            </a:r>
            <a:br>
              <a:rPr lang="en-US" sz="1100" dirty="0" smtClean="0"/>
            </a:br>
            <a:r>
              <a:rPr lang="en-US" sz="1100" dirty="0" smtClean="0"/>
              <a:t>All 4 etc.</a:t>
            </a:r>
            <a:endParaRPr lang="en-US" sz="1100" dirty="0"/>
          </a:p>
        </p:txBody>
      </p:sp>
      <p:sp>
        <p:nvSpPr>
          <p:cNvPr id="36" name="Content Placeholder 16"/>
          <p:cNvSpPr>
            <a:spLocks noGrp="1"/>
          </p:cNvSpPr>
          <p:nvPr>
            <p:ph idx="16"/>
          </p:nvPr>
        </p:nvSpPr>
        <p:spPr>
          <a:xfrm>
            <a:off x="7772399" y="2183441"/>
            <a:ext cx="1652135" cy="601147"/>
          </a:xfrm>
        </p:spPr>
        <p:txBody>
          <a:bodyPr/>
          <a:lstStyle/>
          <a:p>
            <a:r>
              <a:rPr lang="en-US" b="0" dirty="0" smtClean="0"/>
              <a:t>Short</a:t>
            </a:r>
            <a:br>
              <a:rPr lang="en-US" b="0" dirty="0" smtClean="0"/>
            </a:br>
            <a:r>
              <a:rPr lang="en-US" b="0" dirty="0" smtClean="0"/>
              <a:t>form online</a:t>
            </a:r>
            <a:br>
              <a:rPr lang="en-US" b="0" dirty="0" smtClean="0"/>
            </a:br>
            <a:r>
              <a:rPr lang="en-US" b="0" dirty="0" smtClean="0"/>
              <a:t>video</a:t>
            </a:r>
          </a:p>
          <a:p>
            <a:pPr lvl="1"/>
            <a:r>
              <a:rPr lang="en-US" sz="1100" dirty="0" smtClean="0"/>
              <a:t>YouTube,</a:t>
            </a:r>
            <a:br>
              <a:rPr lang="en-US" sz="1100" dirty="0" smtClean="0"/>
            </a:br>
            <a:r>
              <a:rPr lang="en-US" sz="1100" dirty="0" smtClean="0"/>
              <a:t>Facebook etc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091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399" y="270000"/>
            <a:ext cx="9308541" cy="409568"/>
          </a:xfrm>
        </p:spPr>
        <p:txBody>
          <a:bodyPr/>
          <a:lstStyle/>
          <a:p>
            <a:r>
              <a:rPr lang="en-US" dirty="0" smtClean="0"/>
              <a:t>av consump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31872" y="7168486"/>
            <a:ext cx="5363269" cy="107722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US" sz="800" b="0" dirty="0"/>
              <a:t>IPA Touchpoints </a:t>
            </a:r>
            <a:r>
              <a:rPr lang="en-US" sz="800" b="0" dirty="0" smtClean="0"/>
              <a:t>2016 &amp; GB TGI Q2 2017 </a:t>
            </a:r>
            <a:endParaRPr lang="en-US" sz="800" b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271318" y="737924"/>
            <a:ext cx="6521368" cy="436608"/>
          </a:xfrm>
        </p:spPr>
        <p:txBody>
          <a:bodyPr/>
          <a:lstStyle/>
          <a:p>
            <a:r>
              <a:rPr lang="en-GB" dirty="0" smtClean="0"/>
              <a:t>Almost 6 in 10 main shoppers with children are light commercial TV viewers and they are more likely to use services such as Netflix</a:t>
            </a:r>
            <a:endParaRPr lang="en-GB" dirty="0"/>
          </a:p>
        </p:txBody>
      </p:sp>
      <p:pic>
        <p:nvPicPr>
          <p:cNvPr id="26" name="Picture Placeholder 25"/>
          <p:cNvPicPr>
            <a:picLocks noGrp="1" noChangeAspect="1"/>
          </p:cNvPicPr>
          <p:nvPr>
            <p:ph type="pic"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" r="406"/>
          <a:stretch>
            <a:fillRect/>
          </a:stretch>
        </p:blipFill>
        <p:spPr>
          <a:xfrm>
            <a:off x="1361438" y="5133181"/>
            <a:ext cx="1520825" cy="957263"/>
          </a:xfrm>
        </p:spPr>
      </p:pic>
      <p:pic>
        <p:nvPicPr>
          <p:cNvPr id="27" name="Picture Placeholder 26"/>
          <p:cNvPicPr>
            <a:picLocks noGrp="1" noChangeAspect="1"/>
          </p:cNvPicPr>
          <p:nvPr>
            <p:ph type="pic" sz="quarter" idx="5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0" t="6723" r="9049" b="20888"/>
          <a:stretch/>
        </p:blipFill>
        <p:spPr>
          <a:xfrm>
            <a:off x="3316385" y="5133181"/>
            <a:ext cx="1520825" cy="957262"/>
          </a:xfrm>
        </p:spPr>
      </p:pic>
      <p:pic>
        <p:nvPicPr>
          <p:cNvPr id="28" name="Picture Placeholder 27"/>
          <p:cNvPicPr>
            <a:picLocks noGrp="1" noChangeAspect="1"/>
          </p:cNvPicPr>
          <p:nvPr>
            <p:ph type="pic" sz="quarter" idx="5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73" t="3837" r="15276" b="13326"/>
          <a:stretch/>
        </p:blipFill>
        <p:spPr>
          <a:xfrm>
            <a:off x="5329019" y="5133181"/>
            <a:ext cx="1520825" cy="957263"/>
          </a:xfrm>
        </p:spPr>
      </p:pic>
      <p:pic>
        <p:nvPicPr>
          <p:cNvPr id="29" name="Picture Placeholder 28"/>
          <p:cNvPicPr>
            <a:picLocks noGrp="1" noChangeAspect="1"/>
          </p:cNvPicPr>
          <p:nvPr>
            <p:ph type="pic" sz="quarter" idx="5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3" t="568" r="7994" b="10738"/>
          <a:stretch/>
        </p:blipFill>
        <p:spPr>
          <a:xfrm>
            <a:off x="7283719" y="5133181"/>
            <a:ext cx="1520825" cy="957263"/>
          </a:xfrm>
        </p:spPr>
      </p:pic>
      <p:sp>
        <p:nvSpPr>
          <p:cNvPr id="34" name="Text Placeholder 13"/>
          <p:cNvSpPr txBox="1">
            <a:spLocks/>
          </p:cNvSpPr>
          <p:nvPr/>
        </p:nvSpPr>
        <p:spPr>
          <a:xfrm>
            <a:off x="1075697" y="6217657"/>
            <a:ext cx="192903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8A8A8D"/>
                </a:solidFill>
              </a:rPr>
              <a:t>The Great British Bake Off</a:t>
            </a:r>
          </a:p>
          <a:p>
            <a:r>
              <a:rPr lang="en-US" b="0" dirty="0" smtClean="0">
                <a:solidFill>
                  <a:srgbClr val="8A8A8D"/>
                </a:solidFill>
              </a:rPr>
              <a:t>Index: 124</a:t>
            </a:r>
            <a:endParaRPr lang="en-US" b="0" dirty="0">
              <a:solidFill>
                <a:srgbClr val="8A8A8D"/>
              </a:solidFill>
            </a:endParaRPr>
          </a:p>
        </p:txBody>
      </p:sp>
      <p:sp>
        <p:nvSpPr>
          <p:cNvPr id="36" name="Text Placeholder 28"/>
          <p:cNvSpPr txBox="1">
            <a:spLocks/>
          </p:cNvSpPr>
          <p:nvPr/>
        </p:nvSpPr>
        <p:spPr>
          <a:xfrm>
            <a:off x="669736" y="4629402"/>
            <a:ext cx="8674772" cy="40011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 defTabSz="961844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4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solidFill>
                  <a:schemeClr val="accent1"/>
                </a:solidFill>
              </a:rPr>
              <a:t>KEY TV SHOWS FOR MAIN SHOPPERS WITH CHILDREN</a:t>
            </a:r>
            <a:endParaRPr lang="en-US" b="0" dirty="0">
              <a:solidFill>
                <a:schemeClr val="accent1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890105" y="1753708"/>
            <a:ext cx="2520000" cy="25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59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Main Shoppers with Children are ‘Light Commercial TV Viewers’</a:t>
            </a:r>
          </a:p>
        </p:txBody>
      </p:sp>
      <p:sp>
        <p:nvSpPr>
          <p:cNvPr id="46" name="Oval 45"/>
          <p:cNvSpPr/>
          <p:nvPr/>
        </p:nvSpPr>
        <p:spPr>
          <a:xfrm>
            <a:off x="3804390" y="1753708"/>
            <a:ext cx="2520000" cy="25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33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Main </a:t>
            </a:r>
            <a:r>
              <a:rPr lang="en-GB" sz="1400" dirty="0">
                <a:solidFill>
                  <a:srgbClr val="FFFFFF"/>
                </a:solidFill>
              </a:rPr>
              <a:t>Shoppers </a:t>
            </a:r>
            <a:r>
              <a:rPr lang="en-GB" sz="1400" dirty="0" smtClean="0">
                <a:solidFill>
                  <a:srgbClr val="FFFFFF"/>
                </a:solidFill>
              </a:rPr>
              <a:t/>
            </a:r>
            <a:br>
              <a:rPr lang="en-GB" sz="1400" dirty="0" smtClean="0">
                <a:solidFill>
                  <a:srgbClr val="FFFFFF"/>
                </a:solidFill>
              </a:rPr>
            </a:br>
            <a:r>
              <a:rPr lang="en-GB" sz="1400" dirty="0" smtClean="0">
                <a:solidFill>
                  <a:srgbClr val="FFFFFF"/>
                </a:solidFill>
              </a:rPr>
              <a:t>with </a:t>
            </a:r>
            <a:r>
              <a:rPr lang="en-GB" sz="1400" dirty="0">
                <a:solidFill>
                  <a:srgbClr val="FFFFFF"/>
                </a:solidFill>
              </a:rPr>
              <a:t>Children </a:t>
            </a:r>
            <a:r>
              <a:rPr lang="en-GB" sz="1400" dirty="0" smtClean="0">
                <a:solidFill>
                  <a:srgbClr val="FFFFFF"/>
                </a:solidFill>
              </a:rPr>
              <a:t>have watched live TV </a:t>
            </a:r>
            <a:br>
              <a:rPr lang="en-GB" sz="1400" dirty="0" smtClean="0">
                <a:solidFill>
                  <a:srgbClr val="FFFFFF"/>
                </a:solidFill>
              </a:rPr>
            </a:br>
            <a:r>
              <a:rPr lang="en-GB" sz="1400" dirty="0" smtClean="0">
                <a:solidFill>
                  <a:srgbClr val="FFFFFF"/>
                </a:solidFill>
              </a:rPr>
              <a:t>online in last year </a:t>
            </a:r>
          </a:p>
          <a:p>
            <a:pPr algn="ctr"/>
            <a:r>
              <a:rPr lang="en-GB" sz="800" dirty="0" smtClean="0">
                <a:solidFill>
                  <a:srgbClr val="FFFFFF"/>
                </a:solidFill>
              </a:rPr>
              <a:t>(Ix: 113)</a:t>
            </a:r>
          </a:p>
        </p:txBody>
      </p:sp>
      <p:sp>
        <p:nvSpPr>
          <p:cNvPr id="47" name="Oval 46"/>
          <p:cNvSpPr/>
          <p:nvPr/>
        </p:nvSpPr>
        <p:spPr>
          <a:xfrm>
            <a:off x="6718675" y="1753708"/>
            <a:ext cx="2520000" cy="25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17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Main </a:t>
            </a:r>
            <a:r>
              <a:rPr lang="en-GB" sz="1400" dirty="0">
                <a:solidFill>
                  <a:srgbClr val="FFFFFF"/>
                </a:solidFill>
              </a:rPr>
              <a:t>Shoppers with Children have </a:t>
            </a:r>
            <a:r>
              <a:rPr lang="en-GB" sz="1400" dirty="0" smtClean="0">
                <a:solidFill>
                  <a:srgbClr val="FFFFFF"/>
                </a:solidFill>
              </a:rPr>
              <a:t>used Netflix in last 4 weeks </a:t>
            </a:r>
            <a:r>
              <a:rPr lang="en-GB" sz="800" dirty="0" smtClean="0">
                <a:solidFill>
                  <a:srgbClr val="FFFFFF"/>
                </a:solidFill>
              </a:rPr>
              <a:t>(Ix: 134)</a:t>
            </a:r>
          </a:p>
        </p:txBody>
      </p:sp>
      <p:sp>
        <p:nvSpPr>
          <p:cNvPr id="13" name="Text Placeholder 13"/>
          <p:cNvSpPr txBox="1">
            <a:spLocks/>
          </p:cNvSpPr>
          <p:nvPr/>
        </p:nvSpPr>
        <p:spPr>
          <a:xfrm>
            <a:off x="3112052" y="6217657"/>
            <a:ext cx="192903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8A8A8D"/>
                </a:solidFill>
              </a:rPr>
              <a:t>Britain’s Got Talent</a:t>
            </a:r>
          </a:p>
          <a:p>
            <a:r>
              <a:rPr lang="en-US" b="0" dirty="0" smtClean="0">
                <a:solidFill>
                  <a:srgbClr val="8A8A8D"/>
                </a:solidFill>
              </a:rPr>
              <a:t>Index: 136</a:t>
            </a:r>
            <a:endParaRPr lang="en-US" b="0" dirty="0">
              <a:solidFill>
                <a:srgbClr val="8A8A8D"/>
              </a:solidFill>
            </a:endParaRPr>
          </a:p>
        </p:txBody>
      </p:sp>
      <p:sp>
        <p:nvSpPr>
          <p:cNvPr id="14" name="Text Placeholder 29"/>
          <p:cNvSpPr txBox="1">
            <a:spLocks/>
          </p:cNvSpPr>
          <p:nvPr/>
        </p:nvSpPr>
        <p:spPr>
          <a:xfrm>
            <a:off x="6849844" y="6217657"/>
            <a:ext cx="2388831" cy="30777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Gogglebox</a:t>
            </a:r>
            <a:endParaRPr lang="en-US" dirty="0"/>
          </a:p>
          <a:p>
            <a:r>
              <a:rPr lang="en-US" b="0" dirty="0"/>
              <a:t>Index: </a:t>
            </a:r>
            <a:r>
              <a:rPr lang="en-US" b="0" dirty="0" smtClean="0"/>
              <a:t>131</a:t>
            </a:r>
            <a:endParaRPr lang="en-US" b="0" dirty="0"/>
          </a:p>
        </p:txBody>
      </p:sp>
      <p:sp>
        <p:nvSpPr>
          <p:cNvPr id="15" name="Text Placeholder 36"/>
          <p:cNvSpPr txBox="1">
            <a:spLocks/>
          </p:cNvSpPr>
          <p:nvPr/>
        </p:nvSpPr>
        <p:spPr>
          <a:xfrm>
            <a:off x="5296144" y="6217657"/>
            <a:ext cx="1367993" cy="46166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I’m A Celebrity: Get Me Out Of Here</a:t>
            </a:r>
            <a:endParaRPr lang="en-US" dirty="0"/>
          </a:p>
          <a:p>
            <a:r>
              <a:rPr lang="en-US" b="0" dirty="0"/>
              <a:t>Index: </a:t>
            </a:r>
            <a:r>
              <a:rPr lang="en-US" b="0" dirty="0" smtClean="0"/>
              <a:t>139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07852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 smtClean="0"/>
              <a:t>FILM REMAINS A PASSION POINT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3306761" y="4540835"/>
            <a:ext cx="3467100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…Used an online film service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in the past 3 month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1226819" y="5866878"/>
            <a:ext cx="7626985" cy="461665"/>
          </a:xfrm>
        </p:spPr>
        <p:txBody>
          <a:bodyPr/>
          <a:lstStyle/>
          <a:p>
            <a:r>
              <a:rPr lang="en-US" sz="2400" b="0" dirty="0"/>
              <a:t>CINEMA FUELS THEIR FILM HABIT FURTHER!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492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413680" y="2384995"/>
            <a:ext cx="1288099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4000" dirty="0" smtClean="0">
                <a:latin typeface="Impact" charset="0"/>
                <a:ea typeface="Impact" charset="0"/>
                <a:cs typeface="Impact" charset="0"/>
              </a:rPr>
              <a:t>73%</a:t>
            </a:r>
            <a:endParaRPr lang="en-US" sz="4000" dirty="0">
              <a:latin typeface="Impact" charset="0"/>
              <a:ea typeface="Impact" charset="0"/>
              <a:cs typeface="Impac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42766" y="1517271"/>
            <a:ext cx="2410968" cy="2410967"/>
            <a:chOff x="6442836" y="1517271"/>
            <a:chExt cx="2410968" cy="2410967"/>
          </a:xfrm>
        </p:grpSpPr>
        <p:sp>
          <p:nvSpPr>
            <p:cNvPr id="10" name="Block Arc 9"/>
            <p:cNvSpPr/>
            <p:nvPr userDrawn="1"/>
          </p:nvSpPr>
          <p:spPr>
            <a:xfrm rot="16200000" flipH="1">
              <a:off x="6442836" y="1517271"/>
              <a:ext cx="2410967" cy="2410967"/>
            </a:xfrm>
            <a:prstGeom prst="blockArc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Block Arc 10"/>
            <p:cNvSpPr>
              <a:spLocks noChangeAspect="1"/>
            </p:cNvSpPr>
            <p:nvPr userDrawn="1"/>
          </p:nvSpPr>
          <p:spPr>
            <a:xfrm rot="5400000">
              <a:off x="6442837" y="1517271"/>
              <a:ext cx="2410967" cy="2410967"/>
            </a:xfrm>
            <a:prstGeom prst="blockArc">
              <a:avLst>
                <a:gd name="adj1" fmla="val 10800000"/>
                <a:gd name="adj2" fmla="val 5300720"/>
                <a:gd name="adj3" fmla="val 24984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86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3" t="10361" r="13427" b="13404"/>
          <a:stretch/>
        </p:blipFill>
        <p:spPr bwMode="gray">
          <a:xfrm>
            <a:off x="2128" y="0"/>
            <a:ext cx="10084552" cy="68228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 bwMode="gray">
          <a:xfrm>
            <a:off x="2322022" y="4384624"/>
            <a:ext cx="6036351" cy="126188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 anchorCtr="0">
            <a:noAutofit/>
          </a:bodyPr>
          <a:lstStyle>
            <a:lvl1pPr algn="r" defTabSz="96184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0400" b="0" kern="1200" cap="all" spc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/>
              <a:t>Main shopper with children</a:t>
            </a:r>
            <a:endParaRPr lang="en-US" sz="4000" dirty="0"/>
          </a:p>
        </p:txBody>
      </p:sp>
      <p:sp>
        <p:nvSpPr>
          <p:cNvPr id="12" name="Subtitle 3"/>
          <p:cNvSpPr txBox="1">
            <a:spLocks/>
          </p:cNvSpPr>
          <p:nvPr/>
        </p:nvSpPr>
        <p:spPr>
          <a:xfrm>
            <a:off x="2322022" y="4060028"/>
            <a:ext cx="6001182" cy="400110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LET’S GO TO THE cinema WITH…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98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0000" y="267333"/>
            <a:ext cx="9308541" cy="409568"/>
          </a:xfrm>
        </p:spPr>
        <p:txBody>
          <a:bodyPr/>
          <a:lstStyle/>
          <a:p>
            <a:r>
              <a:rPr lang="en-US" dirty="0" smtClean="0"/>
              <a:t>In the cinema </a:t>
            </a:r>
            <a:r>
              <a:rPr lang="en-US" dirty="0" err="1" smtClean="0"/>
              <a:t>foy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6"/>
          </p:nvPr>
        </p:nvSpPr>
        <p:spPr>
          <a:xfrm>
            <a:off x="5476103" y="4186800"/>
            <a:ext cx="3502934" cy="1292662"/>
          </a:xfrm>
        </p:spPr>
        <p:txBody>
          <a:bodyPr/>
          <a:lstStyle/>
          <a:p>
            <a:r>
              <a:rPr lang="en-US" dirty="0" smtClean="0"/>
              <a:t>48%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90410" y="702064"/>
            <a:ext cx="9316338" cy="436608"/>
          </a:xfrm>
        </p:spPr>
        <p:txBody>
          <a:bodyPr lIns="0"/>
          <a:lstStyle/>
          <a:p>
            <a:r>
              <a:rPr lang="en-US" dirty="0" smtClean="0"/>
              <a:t>Here’s what they’re doing…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5302409" y="1919870"/>
            <a:ext cx="2651760" cy="1015663"/>
          </a:xfrm>
        </p:spPr>
        <p:txBody>
          <a:bodyPr/>
          <a:lstStyle/>
          <a:p>
            <a:r>
              <a:rPr lang="en-US" sz="6000" dirty="0" smtClean="0">
                <a:solidFill>
                  <a:schemeClr val="tx2"/>
                </a:solidFill>
              </a:rPr>
              <a:t>69%</a:t>
            </a:r>
            <a:endParaRPr lang="en-US" sz="6000" dirty="0">
              <a:solidFill>
                <a:schemeClr val="tx2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5302409" y="2859693"/>
            <a:ext cx="2651760" cy="656590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Spent money on food/drink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601980" y="2984956"/>
            <a:ext cx="4221479" cy="374461"/>
          </a:xfrm>
        </p:spPr>
        <p:txBody>
          <a:bodyPr/>
          <a:lstStyle/>
          <a:p>
            <a:r>
              <a:rPr lang="en-US" sz="6000" dirty="0" smtClean="0"/>
              <a:t>2.8</a:t>
            </a:r>
            <a:r>
              <a:rPr lang="en-US" dirty="0" smtClean="0"/>
              <a:t> </a:t>
            </a:r>
            <a:r>
              <a:rPr lang="en-US" b="0" dirty="0" smtClean="0"/>
              <a:t>average group </a:t>
            </a:r>
            <a:r>
              <a:rPr lang="en-US" b="0" dirty="0" err="1" smtClean="0"/>
              <a:t>sIze</a:t>
            </a:r>
            <a:endParaRPr lang="en-US" b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>
            <a:off x="2687955" y="3967265"/>
            <a:ext cx="2127884" cy="1015663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55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2687955" y="4799759"/>
            <a:ext cx="2127884" cy="351828"/>
          </a:xfrm>
        </p:spPr>
        <p:txBody>
          <a:bodyPr/>
          <a:lstStyle/>
          <a:p>
            <a:r>
              <a:rPr lang="en-US" b="0" dirty="0" smtClean="0">
                <a:solidFill>
                  <a:schemeClr val="tx2"/>
                </a:solidFill>
              </a:rPr>
              <a:t>Go with family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  <a:endParaRPr lang="en-US" sz="800" b="0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idx="19"/>
          </p:nvPr>
        </p:nvSpPr>
        <p:spPr>
          <a:xfrm>
            <a:off x="5303520" y="5286643"/>
            <a:ext cx="3848100" cy="656590"/>
          </a:xfrm>
        </p:spPr>
        <p:txBody>
          <a:bodyPr/>
          <a:lstStyle/>
          <a:p>
            <a:r>
              <a:rPr lang="en-US" b="0" dirty="0" smtClean="0"/>
              <a:t>BROWSE THE INTERNET ON THEIR PHONE WHILE WAITING</a:t>
            </a:r>
            <a:endParaRPr lang="en-US" b="0" dirty="0"/>
          </a:p>
        </p:txBody>
      </p:sp>
      <p:sp>
        <p:nvSpPr>
          <p:cNvPr id="16" name="Freeform 18"/>
          <p:cNvSpPr>
            <a:spLocks noEditPoints="1"/>
          </p:cNvSpPr>
          <p:nvPr/>
        </p:nvSpPr>
        <p:spPr bwMode="auto">
          <a:xfrm>
            <a:off x="7519853" y="1686380"/>
            <a:ext cx="297764" cy="260768"/>
          </a:xfrm>
          <a:custGeom>
            <a:avLst/>
            <a:gdLst>
              <a:gd name="T0" fmla="*/ 70 w 1658"/>
              <a:gd name="T1" fmla="*/ 327 h 1451"/>
              <a:gd name="T2" fmla="*/ 276 w 1658"/>
              <a:gd name="T3" fmla="*/ 135 h 1451"/>
              <a:gd name="T4" fmla="*/ 663 w 1658"/>
              <a:gd name="T5" fmla="*/ 10 h 1451"/>
              <a:gd name="T6" fmla="*/ 1187 w 1658"/>
              <a:gd name="T7" fmla="*/ 51 h 1451"/>
              <a:gd name="T8" fmla="*/ 1577 w 1658"/>
              <a:gd name="T9" fmla="*/ 308 h 1451"/>
              <a:gd name="T10" fmla="*/ 1653 w 1658"/>
              <a:gd name="T11" fmla="*/ 552 h 1451"/>
              <a:gd name="T12" fmla="*/ 1473 w 1658"/>
              <a:gd name="T13" fmla="*/ 648 h 1451"/>
              <a:gd name="T14" fmla="*/ 1353 w 1658"/>
              <a:gd name="T15" fmla="*/ 766 h 1451"/>
              <a:gd name="T16" fmla="*/ 1141 w 1658"/>
              <a:gd name="T17" fmla="*/ 852 h 1451"/>
              <a:gd name="T18" fmla="*/ 1161 w 1658"/>
              <a:gd name="T19" fmla="*/ 639 h 1451"/>
              <a:gd name="T20" fmla="*/ 1631 w 1658"/>
              <a:gd name="T21" fmla="*/ 1242 h 1451"/>
              <a:gd name="T22" fmla="*/ 1394 w 1658"/>
              <a:gd name="T23" fmla="*/ 1450 h 1451"/>
              <a:gd name="T24" fmla="*/ 90 w 1658"/>
              <a:gd name="T25" fmla="*/ 1352 h 1451"/>
              <a:gd name="T26" fmla="*/ 1653 w 1658"/>
              <a:gd name="T27" fmla="*/ 1109 h 1451"/>
              <a:gd name="T28" fmla="*/ 49 w 1658"/>
              <a:gd name="T29" fmla="*/ 984 h 1451"/>
              <a:gd name="T30" fmla="*/ 1 w 1658"/>
              <a:gd name="T31" fmla="*/ 834 h 1451"/>
              <a:gd name="T32" fmla="*/ 776 w 1658"/>
              <a:gd name="T33" fmla="*/ 848 h 1451"/>
              <a:gd name="T34" fmla="*/ 1189 w 1658"/>
              <a:gd name="T35" fmla="*/ 944 h 1451"/>
              <a:gd name="T36" fmla="*/ 1470 w 1658"/>
              <a:gd name="T37" fmla="*/ 781 h 1451"/>
              <a:gd name="T38" fmla="*/ 1615 w 1658"/>
              <a:gd name="T39" fmla="*/ 742 h 1451"/>
              <a:gd name="T40" fmla="*/ 1658 w 1658"/>
              <a:gd name="T41" fmla="*/ 876 h 1451"/>
              <a:gd name="T42" fmla="*/ 1577 w 1658"/>
              <a:gd name="T43" fmla="*/ 1006 h 1451"/>
              <a:gd name="T44" fmla="*/ 353 w 1658"/>
              <a:gd name="T45" fmla="*/ 269 h 1451"/>
              <a:gd name="T46" fmla="*/ 315 w 1658"/>
              <a:gd name="T47" fmla="*/ 180 h 1451"/>
              <a:gd name="T48" fmla="*/ 245 w 1658"/>
              <a:gd name="T49" fmla="*/ 236 h 1451"/>
              <a:gd name="T50" fmla="*/ 550 w 1658"/>
              <a:gd name="T51" fmla="*/ 449 h 1451"/>
              <a:gd name="T52" fmla="*/ 587 w 1658"/>
              <a:gd name="T53" fmla="*/ 360 h 1451"/>
              <a:gd name="T54" fmla="*/ 490 w 1658"/>
              <a:gd name="T55" fmla="*/ 360 h 1451"/>
              <a:gd name="T56" fmla="*/ 526 w 1658"/>
              <a:gd name="T57" fmla="*/ 449 h 1451"/>
              <a:gd name="T58" fmla="*/ 640 w 1658"/>
              <a:gd name="T59" fmla="*/ 133 h 1451"/>
              <a:gd name="T60" fmla="*/ 570 w 1658"/>
              <a:gd name="T61" fmla="*/ 75 h 1451"/>
              <a:gd name="T62" fmla="*/ 534 w 1658"/>
              <a:gd name="T63" fmla="*/ 166 h 1451"/>
              <a:gd name="T64" fmla="*/ 774 w 1658"/>
              <a:gd name="T65" fmla="*/ 313 h 1451"/>
              <a:gd name="T66" fmla="*/ 755 w 1658"/>
              <a:gd name="T67" fmla="*/ 219 h 1451"/>
              <a:gd name="T68" fmla="*/ 673 w 1658"/>
              <a:gd name="T69" fmla="*/ 272 h 1451"/>
              <a:gd name="T70" fmla="*/ 923 w 1658"/>
              <a:gd name="T71" fmla="*/ 351 h 1451"/>
              <a:gd name="T72" fmla="*/ 868 w 1658"/>
              <a:gd name="T73" fmla="*/ 432 h 1451"/>
              <a:gd name="T74" fmla="*/ 964 w 1658"/>
              <a:gd name="T75" fmla="*/ 450 h 1451"/>
              <a:gd name="T76" fmla="*/ 945 w 1658"/>
              <a:gd name="T77" fmla="*/ 356 h 1451"/>
              <a:gd name="T78" fmla="*/ 954 w 1658"/>
              <a:gd name="T79" fmla="*/ 111 h 1451"/>
              <a:gd name="T80" fmla="*/ 897 w 1658"/>
              <a:gd name="T81" fmla="*/ 41 h 1451"/>
              <a:gd name="T82" fmla="*/ 843 w 1658"/>
              <a:gd name="T83" fmla="*/ 121 h 1451"/>
              <a:gd name="T84" fmla="*/ 1048 w 1658"/>
              <a:gd name="T85" fmla="*/ 303 h 1451"/>
              <a:gd name="T86" fmla="*/ 1048 w 1658"/>
              <a:gd name="T87" fmla="*/ 205 h 1451"/>
              <a:gd name="T88" fmla="*/ 959 w 1658"/>
              <a:gd name="T89" fmla="*/ 243 h 1451"/>
              <a:gd name="T90" fmla="*/ 1173 w 1658"/>
              <a:gd name="T91" fmla="*/ 226 h 1451"/>
              <a:gd name="T92" fmla="*/ 1230 w 1658"/>
              <a:gd name="T93" fmla="*/ 156 h 1451"/>
              <a:gd name="T94" fmla="*/ 1141 w 1658"/>
              <a:gd name="T95" fmla="*/ 120 h 1451"/>
              <a:gd name="T96" fmla="*/ 1141 w 1658"/>
              <a:gd name="T97" fmla="*/ 216 h 1451"/>
              <a:gd name="T98" fmla="*/ 1452 w 1658"/>
              <a:gd name="T99" fmla="*/ 307 h 1451"/>
              <a:gd name="T100" fmla="*/ 1398 w 1658"/>
              <a:gd name="T101" fmla="*/ 226 h 1451"/>
              <a:gd name="T102" fmla="*/ 1341 w 1658"/>
              <a:gd name="T103" fmla="*/ 296 h 1451"/>
              <a:gd name="T104" fmla="*/ 1178 w 1658"/>
              <a:gd name="T105" fmla="*/ 447 h 1451"/>
              <a:gd name="T106" fmla="*/ 1274 w 1658"/>
              <a:gd name="T107" fmla="*/ 466 h 1451"/>
              <a:gd name="T108" fmla="*/ 1255 w 1658"/>
              <a:gd name="T109" fmla="*/ 372 h 1451"/>
              <a:gd name="T110" fmla="*/ 1173 w 1658"/>
              <a:gd name="T111" fmla="*/ 425 h 1451"/>
              <a:gd name="T112" fmla="*/ 349 w 1658"/>
              <a:gd name="T113" fmla="*/ 425 h 1451"/>
              <a:gd name="T114" fmla="*/ 269 w 1658"/>
              <a:gd name="T115" fmla="*/ 372 h 1451"/>
              <a:gd name="T116" fmla="*/ 250 w 1658"/>
              <a:gd name="T117" fmla="*/ 466 h 1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58" h="1451">
                <a:moveTo>
                  <a:pt x="5" y="550"/>
                </a:moveTo>
                <a:lnTo>
                  <a:pt x="5" y="550"/>
                </a:lnTo>
                <a:lnTo>
                  <a:pt x="7" y="521"/>
                </a:lnTo>
                <a:lnTo>
                  <a:pt x="10" y="490"/>
                </a:lnTo>
                <a:lnTo>
                  <a:pt x="15" y="462"/>
                </a:lnTo>
                <a:lnTo>
                  <a:pt x="22" y="433"/>
                </a:lnTo>
                <a:lnTo>
                  <a:pt x="31" y="406"/>
                </a:lnTo>
                <a:lnTo>
                  <a:pt x="43" y="379"/>
                </a:lnTo>
                <a:lnTo>
                  <a:pt x="55" y="353"/>
                </a:lnTo>
                <a:lnTo>
                  <a:pt x="70" y="327"/>
                </a:lnTo>
                <a:lnTo>
                  <a:pt x="70" y="327"/>
                </a:lnTo>
                <a:lnTo>
                  <a:pt x="70" y="327"/>
                </a:lnTo>
                <a:lnTo>
                  <a:pt x="87" y="303"/>
                </a:lnTo>
                <a:lnTo>
                  <a:pt x="104" y="279"/>
                </a:lnTo>
                <a:lnTo>
                  <a:pt x="125" y="255"/>
                </a:lnTo>
                <a:lnTo>
                  <a:pt x="145" y="233"/>
                </a:lnTo>
                <a:lnTo>
                  <a:pt x="169" y="212"/>
                </a:lnTo>
                <a:lnTo>
                  <a:pt x="193" y="192"/>
                </a:lnTo>
                <a:lnTo>
                  <a:pt x="219" y="171"/>
                </a:lnTo>
                <a:lnTo>
                  <a:pt x="246" y="154"/>
                </a:lnTo>
                <a:lnTo>
                  <a:pt x="246" y="154"/>
                </a:lnTo>
                <a:lnTo>
                  <a:pt x="276" y="135"/>
                </a:lnTo>
                <a:lnTo>
                  <a:pt x="305" y="118"/>
                </a:lnTo>
                <a:lnTo>
                  <a:pt x="335" y="103"/>
                </a:lnTo>
                <a:lnTo>
                  <a:pt x="368" y="89"/>
                </a:lnTo>
                <a:lnTo>
                  <a:pt x="402" y="75"/>
                </a:lnTo>
                <a:lnTo>
                  <a:pt x="437" y="61"/>
                </a:lnTo>
                <a:lnTo>
                  <a:pt x="473" y="51"/>
                </a:lnTo>
                <a:lnTo>
                  <a:pt x="508" y="39"/>
                </a:lnTo>
                <a:lnTo>
                  <a:pt x="546" y="31"/>
                </a:lnTo>
                <a:lnTo>
                  <a:pt x="584" y="22"/>
                </a:lnTo>
                <a:lnTo>
                  <a:pt x="623" y="15"/>
                </a:lnTo>
                <a:lnTo>
                  <a:pt x="663" y="10"/>
                </a:lnTo>
                <a:lnTo>
                  <a:pt x="704" y="5"/>
                </a:lnTo>
                <a:lnTo>
                  <a:pt x="745" y="1"/>
                </a:lnTo>
                <a:lnTo>
                  <a:pt x="788" y="0"/>
                </a:lnTo>
                <a:lnTo>
                  <a:pt x="829" y="0"/>
                </a:lnTo>
                <a:lnTo>
                  <a:pt x="829" y="0"/>
                </a:lnTo>
                <a:lnTo>
                  <a:pt x="892" y="1"/>
                </a:lnTo>
                <a:lnTo>
                  <a:pt x="956" y="5"/>
                </a:lnTo>
                <a:lnTo>
                  <a:pt x="1016" y="13"/>
                </a:lnTo>
                <a:lnTo>
                  <a:pt x="1074" y="22"/>
                </a:lnTo>
                <a:lnTo>
                  <a:pt x="1132" y="36"/>
                </a:lnTo>
                <a:lnTo>
                  <a:pt x="1187" y="51"/>
                </a:lnTo>
                <a:lnTo>
                  <a:pt x="1240" y="68"/>
                </a:lnTo>
                <a:lnTo>
                  <a:pt x="1290" y="89"/>
                </a:lnTo>
                <a:lnTo>
                  <a:pt x="1290" y="89"/>
                </a:lnTo>
                <a:lnTo>
                  <a:pt x="1338" y="111"/>
                </a:lnTo>
                <a:lnTo>
                  <a:pt x="1384" y="135"/>
                </a:lnTo>
                <a:lnTo>
                  <a:pt x="1427" y="163"/>
                </a:lnTo>
                <a:lnTo>
                  <a:pt x="1466" y="192"/>
                </a:lnTo>
                <a:lnTo>
                  <a:pt x="1502" y="223"/>
                </a:lnTo>
                <a:lnTo>
                  <a:pt x="1535" y="255"/>
                </a:lnTo>
                <a:lnTo>
                  <a:pt x="1564" y="291"/>
                </a:lnTo>
                <a:lnTo>
                  <a:pt x="1577" y="308"/>
                </a:lnTo>
                <a:lnTo>
                  <a:pt x="1589" y="327"/>
                </a:lnTo>
                <a:lnTo>
                  <a:pt x="1589" y="327"/>
                </a:lnTo>
                <a:lnTo>
                  <a:pt x="1603" y="353"/>
                </a:lnTo>
                <a:lnTo>
                  <a:pt x="1617" y="379"/>
                </a:lnTo>
                <a:lnTo>
                  <a:pt x="1627" y="406"/>
                </a:lnTo>
                <a:lnTo>
                  <a:pt x="1637" y="433"/>
                </a:lnTo>
                <a:lnTo>
                  <a:pt x="1644" y="462"/>
                </a:lnTo>
                <a:lnTo>
                  <a:pt x="1649" y="490"/>
                </a:lnTo>
                <a:lnTo>
                  <a:pt x="1653" y="521"/>
                </a:lnTo>
                <a:lnTo>
                  <a:pt x="1653" y="550"/>
                </a:lnTo>
                <a:lnTo>
                  <a:pt x="1653" y="552"/>
                </a:lnTo>
                <a:lnTo>
                  <a:pt x="1653" y="552"/>
                </a:lnTo>
                <a:lnTo>
                  <a:pt x="1158" y="552"/>
                </a:lnTo>
                <a:lnTo>
                  <a:pt x="5" y="550"/>
                </a:lnTo>
                <a:lnTo>
                  <a:pt x="5" y="552"/>
                </a:lnTo>
                <a:lnTo>
                  <a:pt x="5" y="552"/>
                </a:lnTo>
                <a:lnTo>
                  <a:pt x="5" y="550"/>
                </a:lnTo>
                <a:lnTo>
                  <a:pt x="5" y="550"/>
                </a:lnTo>
                <a:close/>
                <a:moveTo>
                  <a:pt x="1161" y="639"/>
                </a:moveTo>
                <a:lnTo>
                  <a:pt x="1480" y="639"/>
                </a:lnTo>
                <a:lnTo>
                  <a:pt x="1473" y="648"/>
                </a:lnTo>
                <a:lnTo>
                  <a:pt x="1473" y="648"/>
                </a:lnTo>
                <a:lnTo>
                  <a:pt x="1470" y="653"/>
                </a:lnTo>
                <a:lnTo>
                  <a:pt x="1468" y="654"/>
                </a:lnTo>
                <a:lnTo>
                  <a:pt x="1468" y="654"/>
                </a:lnTo>
                <a:lnTo>
                  <a:pt x="1442" y="682"/>
                </a:lnTo>
                <a:lnTo>
                  <a:pt x="1416" y="709"/>
                </a:lnTo>
                <a:lnTo>
                  <a:pt x="1413" y="713"/>
                </a:lnTo>
                <a:lnTo>
                  <a:pt x="1413" y="713"/>
                </a:lnTo>
                <a:lnTo>
                  <a:pt x="1406" y="720"/>
                </a:lnTo>
                <a:lnTo>
                  <a:pt x="1406" y="720"/>
                </a:lnTo>
                <a:lnTo>
                  <a:pt x="1380" y="744"/>
                </a:lnTo>
                <a:lnTo>
                  <a:pt x="1353" y="766"/>
                </a:lnTo>
                <a:lnTo>
                  <a:pt x="1322" y="788"/>
                </a:lnTo>
                <a:lnTo>
                  <a:pt x="1290" y="809"/>
                </a:lnTo>
                <a:lnTo>
                  <a:pt x="1255" y="826"/>
                </a:lnTo>
                <a:lnTo>
                  <a:pt x="1237" y="833"/>
                </a:lnTo>
                <a:lnTo>
                  <a:pt x="1218" y="840"/>
                </a:lnTo>
                <a:lnTo>
                  <a:pt x="1199" y="845"/>
                </a:lnTo>
                <a:lnTo>
                  <a:pt x="1180" y="848"/>
                </a:lnTo>
                <a:lnTo>
                  <a:pt x="116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20" y="852"/>
                </a:lnTo>
                <a:lnTo>
                  <a:pt x="1098" y="850"/>
                </a:lnTo>
                <a:lnTo>
                  <a:pt x="1076" y="845"/>
                </a:lnTo>
                <a:lnTo>
                  <a:pt x="1050" y="840"/>
                </a:lnTo>
                <a:lnTo>
                  <a:pt x="993" y="826"/>
                </a:lnTo>
                <a:lnTo>
                  <a:pt x="930" y="805"/>
                </a:lnTo>
                <a:lnTo>
                  <a:pt x="930" y="805"/>
                </a:lnTo>
                <a:lnTo>
                  <a:pt x="872" y="785"/>
                </a:lnTo>
                <a:lnTo>
                  <a:pt x="805" y="759"/>
                </a:lnTo>
                <a:lnTo>
                  <a:pt x="789" y="752"/>
                </a:lnTo>
                <a:lnTo>
                  <a:pt x="1161" y="639"/>
                </a:lnTo>
                <a:close/>
                <a:moveTo>
                  <a:pt x="298" y="807"/>
                </a:moveTo>
                <a:lnTo>
                  <a:pt x="147" y="639"/>
                </a:lnTo>
                <a:lnTo>
                  <a:pt x="853" y="639"/>
                </a:lnTo>
                <a:lnTo>
                  <a:pt x="853" y="639"/>
                </a:lnTo>
                <a:lnTo>
                  <a:pt x="298" y="807"/>
                </a:lnTo>
                <a:close/>
                <a:moveTo>
                  <a:pt x="1653" y="1109"/>
                </a:moveTo>
                <a:lnTo>
                  <a:pt x="1653" y="1109"/>
                </a:lnTo>
                <a:lnTo>
                  <a:pt x="1651" y="1143"/>
                </a:lnTo>
                <a:lnTo>
                  <a:pt x="1648" y="1177"/>
                </a:lnTo>
                <a:lnTo>
                  <a:pt x="1641" y="1210"/>
                </a:lnTo>
                <a:lnTo>
                  <a:pt x="1631" y="1242"/>
                </a:lnTo>
                <a:lnTo>
                  <a:pt x="1619" y="1271"/>
                </a:lnTo>
                <a:lnTo>
                  <a:pt x="1605" y="1301"/>
                </a:lnTo>
                <a:lnTo>
                  <a:pt x="1588" y="1326"/>
                </a:lnTo>
                <a:lnTo>
                  <a:pt x="1569" y="1352"/>
                </a:lnTo>
                <a:lnTo>
                  <a:pt x="1548" y="1374"/>
                </a:lnTo>
                <a:lnTo>
                  <a:pt x="1526" y="1393"/>
                </a:lnTo>
                <a:lnTo>
                  <a:pt x="1502" y="1410"/>
                </a:lnTo>
                <a:lnTo>
                  <a:pt x="1478" y="1426"/>
                </a:lnTo>
                <a:lnTo>
                  <a:pt x="1451" y="1436"/>
                </a:lnTo>
                <a:lnTo>
                  <a:pt x="1423" y="1445"/>
                </a:lnTo>
                <a:lnTo>
                  <a:pt x="1394" y="1450"/>
                </a:lnTo>
                <a:lnTo>
                  <a:pt x="1365" y="1451"/>
                </a:lnTo>
                <a:lnTo>
                  <a:pt x="293" y="1451"/>
                </a:lnTo>
                <a:lnTo>
                  <a:pt x="293" y="1451"/>
                </a:lnTo>
                <a:lnTo>
                  <a:pt x="264" y="1450"/>
                </a:lnTo>
                <a:lnTo>
                  <a:pt x="234" y="1445"/>
                </a:lnTo>
                <a:lnTo>
                  <a:pt x="207" y="1436"/>
                </a:lnTo>
                <a:lnTo>
                  <a:pt x="181" y="1426"/>
                </a:lnTo>
                <a:lnTo>
                  <a:pt x="156" y="1410"/>
                </a:lnTo>
                <a:lnTo>
                  <a:pt x="132" y="1393"/>
                </a:lnTo>
                <a:lnTo>
                  <a:pt x="109" y="1374"/>
                </a:lnTo>
                <a:lnTo>
                  <a:pt x="90" y="1352"/>
                </a:lnTo>
                <a:lnTo>
                  <a:pt x="72" y="1326"/>
                </a:lnTo>
                <a:lnTo>
                  <a:pt x="55" y="1301"/>
                </a:lnTo>
                <a:lnTo>
                  <a:pt x="41" y="1271"/>
                </a:lnTo>
                <a:lnTo>
                  <a:pt x="29" y="1242"/>
                </a:lnTo>
                <a:lnTo>
                  <a:pt x="19" y="1210"/>
                </a:lnTo>
                <a:lnTo>
                  <a:pt x="12" y="1177"/>
                </a:lnTo>
                <a:lnTo>
                  <a:pt x="7" y="1143"/>
                </a:lnTo>
                <a:lnTo>
                  <a:pt x="5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close/>
                <a:moveTo>
                  <a:pt x="1526" y="1020"/>
                </a:moveTo>
                <a:lnTo>
                  <a:pt x="133" y="1020"/>
                </a:lnTo>
                <a:lnTo>
                  <a:pt x="133" y="1020"/>
                </a:lnTo>
                <a:lnTo>
                  <a:pt x="120" y="1018"/>
                </a:lnTo>
                <a:lnTo>
                  <a:pt x="106" y="1016"/>
                </a:lnTo>
                <a:lnTo>
                  <a:pt x="94" y="1013"/>
                </a:lnTo>
                <a:lnTo>
                  <a:pt x="82" y="1008"/>
                </a:lnTo>
                <a:lnTo>
                  <a:pt x="70" y="1001"/>
                </a:lnTo>
                <a:lnTo>
                  <a:pt x="60" y="992"/>
                </a:lnTo>
                <a:lnTo>
                  <a:pt x="49" y="984"/>
                </a:lnTo>
                <a:lnTo>
                  <a:pt x="39" y="973"/>
                </a:lnTo>
                <a:lnTo>
                  <a:pt x="31" y="961"/>
                </a:lnTo>
                <a:lnTo>
                  <a:pt x="24" y="949"/>
                </a:lnTo>
                <a:lnTo>
                  <a:pt x="17" y="937"/>
                </a:lnTo>
                <a:lnTo>
                  <a:pt x="10" y="924"/>
                </a:lnTo>
                <a:lnTo>
                  <a:pt x="7" y="908"/>
                </a:lnTo>
                <a:lnTo>
                  <a:pt x="3" y="893"/>
                </a:lnTo>
                <a:lnTo>
                  <a:pt x="1" y="877"/>
                </a:lnTo>
                <a:lnTo>
                  <a:pt x="0" y="860"/>
                </a:lnTo>
                <a:lnTo>
                  <a:pt x="0" y="860"/>
                </a:lnTo>
                <a:lnTo>
                  <a:pt x="1" y="834"/>
                </a:lnTo>
                <a:lnTo>
                  <a:pt x="7" y="810"/>
                </a:lnTo>
                <a:lnTo>
                  <a:pt x="15" y="788"/>
                </a:lnTo>
                <a:lnTo>
                  <a:pt x="25" y="768"/>
                </a:lnTo>
                <a:lnTo>
                  <a:pt x="39" y="749"/>
                </a:lnTo>
                <a:lnTo>
                  <a:pt x="55" y="732"/>
                </a:lnTo>
                <a:lnTo>
                  <a:pt x="72" y="720"/>
                </a:lnTo>
                <a:lnTo>
                  <a:pt x="90" y="709"/>
                </a:lnTo>
                <a:lnTo>
                  <a:pt x="270" y="910"/>
                </a:lnTo>
                <a:lnTo>
                  <a:pt x="649" y="795"/>
                </a:lnTo>
                <a:lnTo>
                  <a:pt x="649" y="795"/>
                </a:lnTo>
                <a:lnTo>
                  <a:pt x="776" y="848"/>
                </a:lnTo>
                <a:lnTo>
                  <a:pt x="776" y="848"/>
                </a:lnTo>
                <a:lnTo>
                  <a:pt x="875" y="886"/>
                </a:lnTo>
                <a:lnTo>
                  <a:pt x="925" y="903"/>
                </a:lnTo>
                <a:lnTo>
                  <a:pt x="971" y="918"/>
                </a:lnTo>
                <a:lnTo>
                  <a:pt x="1017" y="930"/>
                </a:lnTo>
                <a:lnTo>
                  <a:pt x="1060" y="939"/>
                </a:lnTo>
                <a:lnTo>
                  <a:pt x="1101" y="946"/>
                </a:lnTo>
                <a:lnTo>
                  <a:pt x="1141" y="948"/>
                </a:lnTo>
                <a:lnTo>
                  <a:pt x="1141" y="948"/>
                </a:lnTo>
                <a:lnTo>
                  <a:pt x="1165" y="948"/>
                </a:lnTo>
                <a:lnTo>
                  <a:pt x="1189" y="944"/>
                </a:lnTo>
                <a:lnTo>
                  <a:pt x="1213" y="939"/>
                </a:lnTo>
                <a:lnTo>
                  <a:pt x="1237" y="932"/>
                </a:lnTo>
                <a:lnTo>
                  <a:pt x="1259" y="925"/>
                </a:lnTo>
                <a:lnTo>
                  <a:pt x="1281" y="917"/>
                </a:lnTo>
                <a:lnTo>
                  <a:pt x="1303" y="906"/>
                </a:lnTo>
                <a:lnTo>
                  <a:pt x="1324" y="894"/>
                </a:lnTo>
                <a:lnTo>
                  <a:pt x="1344" y="882"/>
                </a:lnTo>
                <a:lnTo>
                  <a:pt x="1365" y="869"/>
                </a:lnTo>
                <a:lnTo>
                  <a:pt x="1403" y="841"/>
                </a:lnTo>
                <a:lnTo>
                  <a:pt x="1437" y="810"/>
                </a:lnTo>
                <a:lnTo>
                  <a:pt x="1470" y="781"/>
                </a:lnTo>
                <a:lnTo>
                  <a:pt x="1470" y="781"/>
                </a:lnTo>
                <a:lnTo>
                  <a:pt x="1507" y="740"/>
                </a:lnTo>
                <a:lnTo>
                  <a:pt x="1540" y="701"/>
                </a:lnTo>
                <a:lnTo>
                  <a:pt x="1540" y="701"/>
                </a:lnTo>
                <a:lnTo>
                  <a:pt x="1552" y="704"/>
                </a:lnTo>
                <a:lnTo>
                  <a:pt x="1564" y="708"/>
                </a:lnTo>
                <a:lnTo>
                  <a:pt x="1576" y="713"/>
                </a:lnTo>
                <a:lnTo>
                  <a:pt x="1586" y="718"/>
                </a:lnTo>
                <a:lnTo>
                  <a:pt x="1596" y="725"/>
                </a:lnTo>
                <a:lnTo>
                  <a:pt x="1607" y="733"/>
                </a:lnTo>
                <a:lnTo>
                  <a:pt x="1615" y="742"/>
                </a:lnTo>
                <a:lnTo>
                  <a:pt x="1624" y="752"/>
                </a:lnTo>
                <a:lnTo>
                  <a:pt x="1632" y="764"/>
                </a:lnTo>
                <a:lnTo>
                  <a:pt x="1639" y="774"/>
                </a:lnTo>
                <a:lnTo>
                  <a:pt x="1644" y="788"/>
                </a:lnTo>
                <a:lnTo>
                  <a:pt x="1649" y="800"/>
                </a:lnTo>
                <a:lnTo>
                  <a:pt x="1653" y="814"/>
                </a:lnTo>
                <a:lnTo>
                  <a:pt x="1656" y="829"/>
                </a:lnTo>
                <a:lnTo>
                  <a:pt x="1658" y="843"/>
                </a:lnTo>
                <a:lnTo>
                  <a:pt x="1658" y="858"/>
                </a:lnTo>
                <a:lnTo>
                  <a:pt x="1658" y="858"/>
                </a:lnTo>
                <a:lnTo>
                  <a:pt x="1658" y="876"/>
                </a:lnTo>
                <a:lnTo>
                  <a:pt x="1656" y="891"/>
                </a:lnTo>
                <a:lnTo>
                  <a:pt x="1653" y="906"/>
                </a:lnTo>
                <a:lnTo>
                  <a:pt x="1648" y="922"/>
                </a:lnTo>
                <a:lnTo>
                  <a:pt x="1643" y="936"/>
                </a:lnTo>
                <a:lnTo>
                  <a:pt x="1636" y="948"/>
                </a:lnTo>
                <a:lnTo>
                  <a:pt x="1629" y="961"/>
                </a:lnTo>
                <a:lnTo>
                  <a:pt x="1620" y="972"/>
                </a:lnTo>
                <a:lnTo>
                  <a:pt x="1610" y="982"/>
                </a:lnTo>
                <a:lnTo>
                  <a:pt x="1600" y="992"/>
                </a:lnTo>
                <a:lnTo>
                  <a:pt x="1589" y="999"/>
                </a:lnTo>
                <a:lnTo>
                  <a:pt x="1577" y="1006"/>
                </a:lnTo>
                <a:lnTo>
                  <a:pt x="1565" y="1013"/>
                </a:lnTo>
                <a:lnTo>
                  <a:pt x="1552" y="1016"/>
                </a:lnTo>
                <a:lnTo>
                  <a:pt x="1540" y="1018"/>
                </a:lnTo>
                <a:lnTo>
                  <a:pt x="1526" y="1020"/>
                </a:lnTo>
                <a:close/>
                <a:moveTo>
                  <a:pt x="303" y="295"/>
                </a:moveTo>
                <a:lnTo>
                  <a:pt x="303" y="295"/>
                </a:lnTo>
                <a:lnTo>
                  <a:pt x="315" y="293"/>
                </a:lnTo>
                <a:lnTo>
                  <a:pt x="327" y="289"/>
                </a:lnTo>
                <a:lnTo>
                  <a:pt x="337" y="284"/>
                </a:lnTo>
                <a:lnTo>
                  <a:pt x="346" y="277"/>
                </a:lnTo>
                <a:lnTo>
                  <a:pt x="353" y="269"/>
                </a:lnTo>
                <a:lnTo>
                  <a:pt x="358" y="259"/>
                </a:lnTo>
                <a:lnTo>
                  <a:pt x="361" y="248"/>
                </a:lnTo>
                <a:lnTo>
                  <a:pt x="363" y="236"/>
                </a:lnTo>
                <a:lnTo>
                  <a:pt x="363" y="236"/>
                </a:lnTo>
                <a:lnTo>
                  <a:pt x="361" y="224"/>
                </a:lnTo>
                <a:lnTo>
                  <a:pt x="358" y="214"/>
                </a:lnTo>
                <a:lnTo>
                  <a:pt x="353" y="204"/>
                </a:lnTo>
                <a:lnTo>
                  <a:pt x="346" y="195"/>
                </a:lnTo>
                <a:lnTo>
                  <a:pt x="337" y="188"/>
                </a:lnTo>
                <a:lnTo>
                  <a:pt x="327" y="183"/>
                </a:lnTo>
                <a:lnTo>
                  <a:pt x="315" y="180"/>
                </a:lnTo>
                <a:lnTo>
                  <a:pt x="303" y="178"/>
                </a:lnTo>
                <a:lnTo>
                  <a:pt x="303" y="178"/>
                </a:lnTo>
                <a:lnTo>
                  <a:pt x="291" y="180"/>
                </a:lnTo>
                <a:lnTo>
                  <a:pt x="281" y="183"/>
                </a:lnTo>
                <a:lnTo>
                  <a:pt x="270" y="188"/>
                </a:lnTo>
                <a:lnTo>
                  <a:pt x="262" y="195"/>
                </a:lnTo>
                <a:lnTo>
                  <a:pt x="255" y="204"/>
                </a:lnTo>
                <a:lnTo>
                  <a:pt x="250" y="214"/>
                </a:lnTo>
                <a:lnTo>
                  <a:pt x="246" y="224"/>
                </a:lnTo>
                <a:lnTo>
                  <a:pt x="245" y="236"/>
                </a:lnTo>
                <a:lnTo>
                  <a:pt x="245" y="236"/>
                </a:lnTo>
                <a:lnTo>
                  <a:pt x="246" y="248"/>
                </a:lnTo>
                <a:lnTo>
                  <a:pt x="250" y="259"/>
                </a:lnTo>
                <a:lnTo>
                  <a:pt x="255" y="269"/>
                </a:lnTo>
                <a:lnTo>
                  <a:pt x="262" y="277"/>
                </a:lnTo>
                <a:lnTo>
                  <a:pt x="270" y="284"/>
                </a:lnTo>
                <a:lnTo>
                  <a:pt x="281" y="289"/>
                </a:lnTo>
                <a:lnTo>
                  <a:pt x="291" y="293"/>
                </a:lnTo>
                <a:lnTo>
                  <a:pt x="303" y="295"/>
                </a:lnTo>
                <a:close/>
                <a:moveTo>
                  <a:pt x="538" y="450"/>
                </a:moveTo>
                <a:lnTo>
                  <a:pt x="538" y="450"/>
                </a:lnTo>
                <a:lnTo>
                  <a:pt x="550" y="449"/>
                </a:lnTo>
                <a:lnTo>
                  <a:pt x="560" y="445"/>
                </a:lnTo>
                <a:lnTo>
                  <a:pt x="570" y="440"/>
                </a:lnTo>
                <a:lnTo>
                  <a:pt x="579" y="433"/>
                </a:lnTo>
                <a:lnTo>
                  <a:pt x="587" y="425"/>
                </a:lnTo>
                <a:lnTo>
                  <a:pt x="592" y="415"/>
                </a:lnTo>
                <a:lnTo>
                  <a:pt x="596" y="403"/>
                </a:lnTo>
                <a:lnTo>
                  <a:pt x="596" y="392"/>
                </a:lnTo>
                <a:lnTo>
                  <a:pt x="596" y="392"/>
                </a:lnTo>
                <a:lnTo>
                  <a:pt x="596" y="380"/>
                </a:lnTo>
                <a:lnTo>
                  <a:pt x="592" y="368"/>
                </a:lnTo>
                <a:lnTo>
                  <a:pt x="587" y="360"/>
                </a:lnTo>
                <a:lnTo>
                  <a:pt x="579" y="351"/>
                </a:lnTo>
                <a:lnTo>
                  <a:pt x="570" y="343"/>
                </a:lnTo>
                <a:lnTo>
                  <a:pt x="560" y="337"/>
                </a:lnTo>
                <a:lnTo>
                  <a:pt x="550" y="334"/>
                </a:lnTo>
                <a:lnTo>
                  <a:pt x="538" y="334"/>
                </a:lnTo>
                <a:lnTo>
                  <a:pt x="538" y="334"/>
                </a:lnTo>
                <a:lnTo>
                  <a:pt x="526" y="334"/>
                </a:lnTo>
                <a:lnTo>
                  <a:pt x="515" y="337"/>
                </a:lnTo>
                <a:lnTo>
                  <a:pt x="505" y="343"/>
                </a:lnTo>
                <a:lnTo>
                  <a:pt x="496" y="351"/>
                </a:lnTo>
                <a:lnTo>
                  <a:pt x="490" y="360"/>
                </a:lnTo>
                <a:lnTo>
                  <a:pt x="485" y="368"/>
                </a:lnTo>
                <a:lnTo>
                  <a:pt x="481" y="380"/>
                </a:lnTo>
                <a:lnTo>
                  <a:pt x="479" y="392"/>
                </a:lnTo>
                <a:lnTo>
                  <a:pt x="479" y="392"/>
                </a:lnTo>
                <a:lnTo>
                  <a:pt x="481" y="403"/>
                </a:lnTo>
                <a:lnTo>
                  <a:pt x="485" y="415"/>
                </a:lnTo>
                <a:lnTo>
                  <a:pt x="490" y="425"/>
                </a:lnTo>
                <a:lnTo>
                  <a:pt x="496" y="433"/>
                </a:lnTo>
                <a:lnTo>
                  <a:pt x="505" y="440"/>
                </a:lnTo>
                <a:lnTo>
                  <a:pt x="515" y="445"/>
                </a:lnTo>
                <a:lnTo>
                  <a:pt x="526" y="449"/>
                </a:lnTo>
                <a:lnTo>
                  <a:pt x="538" y="450"/>
                </a:lnTo>
                <a:close/>
                <a:moveTo>
                  <a:pt x="582" y="192"/>
                </a:moveTo>
                <a:lnTo>
                  <a:pt x="582" y="192"/>
                </a:lnTo>
                <a:lnTo>
                  <a:pt x="594" y="190"/>
                </a:lnTo>
                <a:lnTo>
                  <a:pt x="604" y="187"/>
                </a:lnTo>
                <a:lnTo>
                  <a:pt x="615" y="181"/>
                </a:lnTo>
                <a:lnTo>
                  <a:pt x="623" y="175"/>
                </a:lnTo>
                <a:lnTo>
                  <a:pt x="632" y="166"/>
                </a:lnTo>
                <a:lnTo>
                  <a:pt x="637" y="156"/>
                </a:lnTo>
                <a:lnTo>
                  <a:pt x="640" y="144"/>
                </a:lnTo>
                <a:lnTo>
                  <a:pt x="640" y="133"/>
                </a:lnTo>
                <a:lnTo>
                  <a:pt x="640" y="133"/>
                </a:lnTo>
                <a:lnTo>
                  <a:pt x="640" y="121"/>
                </a:lnTo>
                <a:lnTo>
                  <a:pt x="637" y="109"/>
                </a:lnTo>
                <a:lnTo>
                  <a:pt x="632" y="101"/>
                </a:lnTo>
                <a:lnTo>
                  <a:pt x="623" y="92"/>
                </a:lnTo>
                <a:lnTo>
                  <a:pt x="615" y="84"/>
                </a:lnTo>
                <a:lnTo>
                  <a:pt x="604" y="79"/>
                </a:lnTo>
                <a:lnTo>
                  <a:pt x="594" y="75"/>
                </a:lnTo>
                <a:lnTo>
                  <a:pt x="582" y="75"/>
                </a:lnTo>
                <a:lnTo>
                  <a:pt x="582" y="75"/>
                </a:lnTo>
                <a:lnTo>
                  <a:pt x="570" y="75"/>
                </a:lnTo>
                <a:lnTo>
                  <a:pt x="560" y="79"/>
                </a:lnTo>
                <a:lnTo>
                  <a:pt x="550" y="84"/>
                </a:lnTo>
                <a:lnTo>
                  <a:pt x="541" y="92"/>
                </a:lnTo>
                <a:lnTo>
                  <a:pt x="534" y="101"/>
                </a:lnTo>
                <a:lnTo>
                  <a:pt x="529" y="109"/>
                </a:lnTo>
                <a:lnTo>
                  <a:pt x="526" y="121"/>
                </a:lnTo>
                <a:lnTo>
                  <a:pt x="524" y="133"/>
                </a:lnTo>
                <a:lnTo>
                  <a:pt x="524" y="133"/>
                </a:lnTo>
                <a:lnTo>
                  <a:pt x="526" y="144"/>
                </a:lnTo>
                <a:lnTo>
                  <a:pt x="529" y="156"/>
                </a:lnTo>
                <a:lnTo>
                  <a:pt x="534" y="166"/>
                </a:lnTo>
                <a:lnTo>
                  <a:pt x="541" y="175"/>
                </a:lnTo>
                <a:lnTo>
                  <a:pt x="550" y="181"/>
                </a:lnTo>
                <a:lnTo>
                  <a:pt x="560" y="187"/>
                </a:lnTo>
                <a:lnTo>
                  <a:pt x="570" y="190"/>
                </a:lnTo>
                <a:lnTo>
                  <a:pt x="582" y="192"/>
                </a:lnTo>
                <a:close/>
                <a:moveTo>
                  <a:pt x="731" y="331"/>
                </a:moveTo>
                <a:lnTo>
                  <a:pt x="731" y="331"/>
                </a:lnTo>
                <a:lnTo>
                  <a:pt x="743" y="329"/>
                </a:lnTo>
                <a:lnTo>
                  <a:pt x="755" y="325"/>
                </a:lnTo>
                <a:lnTo>
                  <a:pt x="764" y="320"/>
                </a:lnTo>
                <a:lnTo>
                  <a:pt x="774" y="313"/>
                </a:lnTo>
                <a:lnTo>
                  <a:pt x="781" y="305"/>
                </a:lnTo>
                <a:lnTo>
                  <a:pt x="786" y="295"/>
                </a:lnTo>
                <a:lnTo>
                  <a:pt x="789" y="284"/>
                </a:lnTo>
                <a:lnTo>
                  <a:pt x="791" y="272"/>
                </a:lnTo>
                <a:lnTo>
                  <a:pt x="791" y="272"/>
                </a:lnTo>
                <a:lnTo>
                  <a:pt x="789" y="260"/>
                </a:lnTo>
                <a:lnTo>
                  <a:pt x="786" y="250"/>
                </a:lnTo>
                <a:lnTo>
                  <a:pt x="781" y="240"/>
                </a:lnTo>
                <a:lnTo>
                  <a:pt x="774" y="231"/>
                </a:lnTo>
                <a:lnTo>
                  <a:pt x="764" y="224"/>
                </a:lnTo>
                <a:lnTo>
                  <a:pt x="755" y="219"/>
                </a:lnTo>
                <a:lnTo>
                  <a:pt x="743" y="216"/>
                </a:lnTo>
                <a:lnTo>
                  <a:pt x="731" y="214"/>
                </a:lnTo>
                <a:lnTo>
                  <a:pt x="731" y="214"/>
                </a:lnTo>
                <a:lnTo>
                  <a:pt x="719" y="216"/>
                </a:lnTo>
                <a:lnTo>
                  <a:pt x="709" y="219"/>
                </a:lnTo>
                <a:lnTo>
                  <a:pt x="699" y="224"/>
                </a:lnTo>
                <a:lnTo>
                  <a:pt x="690" y="231"/>
                </a:lnTo>
                <a:lnTo>
                  <a:pt x="683" y="240"/>
                </a:lnTo>
                <a:lnTo>
                  <a:pt x="678" y="250"/>
                </a:lnTo>
                <a:lnTo>
                  <a:pt x="675" y="260"/>
                </a:lnTo>
                <a:lnTo>
                  <a:pt x="673" y="272"/>
                </a:lnTo>
                <a:lnTo>
                  <a:pt x="673" y="272"/>
                </a:lnTo>
                <a:lnTo>
                  <a:pt x="675" y="284"/>
                </a:lnTo>
                <a:lnTo>
                  <a:pt x="678" y="295"/>
                </a:lnTo>
                <a:lnTo>
                  <a:pt x="683" y="305"/>
                </a:lnTo>
                <a:lnTo>
                  <a:pt x="690" y="313"/>
                </a:lnTo>
                <a:lnTo>
                  <a:pt x="699" y="320"/>
                </a:lnTo>
                <a:lnTo>
                  <a:pt x="709" y="325"/>
                </a:lnTo>
                <a:lnTo>
                  <a:pt x="719" y="329"/>
                </a:lnTo>
                <a:lnTo>
                  <a:pt x="731" y="331"/>
                </a:lnTo>
                <a:close/>
                <a:moveTo>
                  <a:pt x="923" y="351"/>
                </a:moveTo>
                <a:lnTo>
                  <a:pt x="923" y="351"/>
                </a:lnTo>
                <a:lnTo>
                  <a:pt x="911" y="353"/>
                </a:lnTo>
                <a:lnTo>
                  <a:pt x="901" y="356"/>
                </a:lnTo>
                <a:lnTo>
                  <a:pt x="891" y="361"/>
                </a:lnTo>
                <a:lnTo>
                  <a:pt x="882" y="368"/>
                </a:lnTo>
                <a:lnTo>
                  <a:pt x="875" y="377"/>
                </a:lnTo>
                <a:lnTo>
                  <a:pt x="868" y="387"/>
                </a:lnTo>
                <a:lnTo>
                  <a:pt x="865" y="397"/>
                </a:lnTo>
                <a:lnTo>
                  <a:pt x="865" y="409"/>
                </a:lnTo>
                <a:lnTo>
                  <a:pt x="865" y="409"/>
                </a:lnTo>
                <a:lnTo>
                  <a:pt x="865" y="421"/>
                </a:lnTo>
                <a:lnTo>
                  <a:pt x="868" y="432"/>
                </a:lnTo>
                <a:lnTo>
                  <a:pt x="875" y="442"/>
                </a:lnTo>
                <a:lnTo>
                  <a:pt x="882" y="450"/>
                </a:lnTo>
                <a:lnTo>
                  <a:pt x="891" y="457"/>
                </a:lnTo>
                <a:lnTo>
                  <a:pt x="901" y="462"/>
                </a:lnTo>
                <a:lnTo>
                  <a:pt x="911" y="466"/>
                </a:lnTo>
                <a:lnTo>
                  <a:pt x="923" y="468"/>
                </a:lnTo>
                <a:lnTo>
                  <a:pt x="923" y="468"/>
                </a:lnTo>
                <a:lnTo>
                  <a:pt x="935" y="466"/>
                </a:lnTo>
                <a:lnTo>
                  <a:pt x="945" y="462"/>
                </a:lnTo>
                <a:lnTo>
                  <a:pt x="956" y="457"/>
                </a:lnTo>
                <a:lnTo>
                  <a:pt x="964" y="450"/>
                </a:lnTo>
                <a:lnTo>
                  <a:pt x="971" y="442"/>
                </a:lnTo>
                <a:lnTo>
                  <a:pt x="978" y="432"/>
                </a:lnTo>
                <a:lnTo>
                  <a:pt x="981" y="421"/>
                </a:lnTo>
                <a:lnTo>
                  <a:pt x="981" y="409"/>
                </a:lnTo>
                <a:lnTo>
                  <a:pt x="981" y="409"/>
                </a:lnTo>
                <a:lnTo>
                  <a:pt x="981" y="397"/>
                </a:lnTo>
                <a:lnTo>
                  <a:pt x="978" y="387"/>
                </a:lnTo>
                <a:lnTo>
                  <a:pt x="971" y="377"/>
                </a:lnTo>
                <a:lnTo>
                  <a:pt x="964" y="368"/>
                </a:lnTo>
                <a:lnTo>
                  <a:pt x="956" y="361"/>
                </a:lnTo>
                <a:lnTo>
                  <a:pt x="945" y="356"/>
                </a:lnTo>
                <a:lnTo>
                  <a:pt x="935" y="353"/>
                </a:lnTo>
                <a:lnTo>
                  <a:pt x="923" y="351"/>
                </a:lnTo>
                <a:close/>
                <a:moveTo>
                  <a:pt x="897" y="157"/>
                </a:moveTo>
                <a:lnTo>
                  <a:pt x="897" y="157"/>
                </a:lnTo>
                <a:lnTo>
                  <a:pt x="909" y="157"/>
                </a:lnTo>
                <a:lnTo>
                  <a:pt x="920" y="154"/>
                </a:lnTo>
                <a:lnTo>
                  <a:pt x="930" y="147"/>
                </a:lnTo>
                <a:lnTo>
                  <a:pt x="938" y="140"/>
                </a:lnTo>
                <a:lnTo>
                  <a:pt x="945" y="132"/>
                </a:lnTo>
                <a:lnTo>
                  <a:pt x="950" y="121"/>
                </a:lnTo>
                <a:lnTo>
                  <a:pt x="954" y="111"/>
                </a:lnTo>
                <a:lnTo>
                  <a:pt x="956" y="99"/>
                </a:lnTo>
                <a:lnTo>
                  <a:pt x="956" y="99"/>
                </a:lnTo>
                <a:lnTo>
                  <a:pt x="954" y="87"/>
                </a:lnTo>
                <a:lnTo>
                  <a:pt x="950" y="77"/>
                </a:lnTo>
                <a:lnTo>
                  <a:pt x="945" y="67"/>
                </a:lnTo>
                <a:lnTo>
                  <a:pt x="938" y="58"/>
                </a:lnTo>
                <a:lnTo>
                  <a:pt x="930" y="51"/>
                </a:lnTo>
                <a:lnTo>
                  <a:pt x="920" y="46"/>
                </a:lnTo>
                <a:lnTo>
                  <a:pt x="909" y="43"/>
                </a:lnTo>
                <a:lnTo>
                  <a:pt x="897" y="41"/>
                </a:lnTo>
                <a:lnTo>
                  <a:pt x="897" y="41"/>
                </a:lnTo>
                <a:lnTo>
                  <a:pt x="885" y="43"/>
                </a:lnTo>
                <a:lnTo>
                  <a:pt x="873" y="46"/>
                </a:lnTo>
                <a:lnTo>
                  <a:pt x="865" y="51"/>
                </a:lnTo>
                <a:lnTo>
                  <a:pt x="855" y="58"/>
                </a:lnTo>
                <a:lnTo>
                  <a:pt x="848" y="67"/>
                </a:lnTo>
                <a:lnTo>
                  <a:pt x="843" y="77"/>
                </a:lnTo>
                <a:lnTo>
                  <a:pt x="839" y="87"/>
                </a:lnTo>
                <a:lnTo>
                  <a:pt x="837" y="99"/>
                </a:lnTo>
                <a:lnTo>
                  <a:pt x="837" y="99"/>
                </a:lnTo>
                <a:lnTo>
                  <a:pt x="839" y="111"/>
                </a:lnTo>
                <a:lnTo>
                  <a:pt x="843" y="121"/>
                </a:lnTo>
                <a:lnTo>
                  <a:pt x="848" y="132"/>
                </a:lnTo>
                <a:lnTo>
                  <a:pt x="855" y="140"/>
                </a:lnTo>
                <a:lnTo>
                  <a:pt x="865" y="147"/>
                </a:lnTo>
                <a:lnTo>
                  <a:pt x="873" y="154"/>
                </a:lnTo>
                <a:lnTo>
                  <a:pt x="885" y="157"/>
                </a:lnTo>
                <a:lnTo>
                  <a:pt x="897" y="157"/>
                </a:lnTo>
                <a:close/>
                <a:moveTo>
                  <a:pt x="1016" y="312"/>
                </a:moveTo>
                <a:lnTo>
                  <a:pt x="1016" y="312"/>
                </a:lnTo>
                <a:lnTo>
                  <a:pt x="1028" y="312"/>
                </a:lnTo>
                <a:lnTo>
                  <a:pt x="1040" y="308"/>
                </a:lnTo>
                <a:lnTo>
                  <a:pt x="1048" y="303"/>
                </a:lnTo>
                <a:lnTo>
                  <a:pt x="1057" y="296"/>
                </a:lnTo>
                <a:lnTo>
                  <a:pt x="1065" y="286"/>
                </a:lnTo>
                <a:lnTo>
                  <a:pt x="1070" y="277"/>
                </a:lnTo>
                <a:lnTo>
                  <a:pt x="1074" y="265"/>
                </a:lnTo>
                <a:lnTo>
                  <a:pt x="1074" y="253"/>
                </a:lnTo>
                <a:lnTo>
                  <a:pt x="1074" y="253"/>
                </a:lnTo>
                <a:lnTo>
                  <a:pt x="1074" y="243"/>
                </a:lnTo>
                <a:lnTo>
                  <a:pt x="1070" y="231"/>
                </a:lnTo>
                <a:lnTo>
                  <a:pt x="1065" y="221"/>
                </a:lnTo>
                <a:lnTo>
                  <a:pt x="1057" y="212"/>
                </a:lnTo>
                <a:lnTo>
                  <a:pt x="1048" y="205"/>
                </a:lnTo>
                <a:lnTo>
                  <a:pt x="1040" y="200"/>
                </a:lnTo>
                <a:lnTo>
                  <a:pt x="1028" y="197"/>
                </a:lnTo>
                <a:lnTo>
                  <a:pt x="1016" y="195"/>
                </a:lnTo>
                <a:lnTo>
                  <a:pt x="1016" y="195"/>
                </a:lnTo>
                <a:lnTo>
                  <a:pt x="1004" y="197"/>
                </a:lnTo>
                <a:lnTo>
                  <a:pt x="993" y="200"/>
                </a:lnTo>
                <a:lnTo>
                  <a:pt x="983" y="205"/>
                </a:lnTo>
                <a:lnTo>
                  <a:pt x="974" y="212"/>
                </a:lnTo>
                <a:lnTo>
                  <a:pt x="968" y="221"/>
                </a:lnTo>
                <a:lnTo>
                  <a:pt x="962" y="231"/>
                </a:lnTo>
                <a:lnTo>
                  <a:pt x="959" y="243"/>
                </a:lnTo>
                <a:lnTo>
                  <a:pt x="957" y="253"/>
                </a:lnTo>
                <a:lnTo>
                  <a:pt x="957" y="253"/>
                </a:lnTo>
                <a:lnTo>
                  <a:pt x="959" y="265"/>
                </a:lnTo>
                <a:lnTo>
                  <a:pt x="962" y="277"/>
                </a:lnTo>
                <a:lnTo>
                  <a:pt x="968" y="286"/>
                </a:lnTo>
                <a:lnTo>
                  <a:pt x="974" y="296"/>
                </a:lnTo>
                <a:lnTo>
                  <a:pt x="983" y="303"/>
                </a:lnTo>
                <a:lnTo>
                  <a:pt x="993" y="308"/>
                </a:lnTo>
                <a:lnTo>
                  <a:pt x="1004" y="312"/>
                </a:lnTo>
                <a:lnTo>
                  <a:pt x="1016" y="312"/>
                </a:lnTo>
                <a:close/>
                <a:moveTo>
                  <a:pt x="1173" y="226"/>
                </a:moveTo>
                <a:lnTo>
                  <a:pt x="1173" y="226"/>
                </a:lnTo>
                <a:lnTo>
                  <a:pt x="1185" y="224"/>
                </a:lnTo>
                <a:lnTo>
                  <a:pt x="1195" y="221"/>
                </a:lnTo>
                <a:lnTo>
                  <a:pt x="1206" y="216"/>
                </a:lnTo>
                <a:lnTo>
                  <a:pt x="1214" y="209"/>
                </a:lnTo>
                <a:lnTo>
                  <a:pt x="1221" y="200"/>
                </a:lnTo>
                <a:lnTo>
                  <a:pt x="1226" y="190"/>
                </a:lnTo>
                <a:lnTo>
                  <a:pt x="1230" y="180"/>
                </a:lnTo>
                <a:lnTo>
                  <a:pt x="1231" y="168"/>
                </a:lnTo>
                <a:lnTo>
                  <a:pt x="1231" y="168"/>
                </a:lnTo>
                <a:lnTo>
                  <a:pt x="1230" y="156"/>
                </a:lnTo>
                <a:lnTo>
                  <a:pt x="1226" y="145"/>
                </a:lnTo>
                <a:lnTo>
                  <a:pt x="1221" y="135"/>
                </a:lnTo>
                <a:lnTo>
                  <a:pt x="1214" y="127"/>
                </a:lnTo>
                <a:lnTo>
                  <a:pt x="1206" y="120"/>
                </a:lnTo>
                <a:lnTo>
                  <a:pt x="1195" y="115"/>
                </a:lnTo>
                <a:lnTo>
                  <a:pt x="1185" y="111"/>
                </a:lnTo>
                <a:lnTo>
                  <a:pt x="1173" y="109"/>
                </a:lnTo>
                <a:lnTo>
                  <a:pt x="1173" y="109"/>
                </a:lnTo>
                <a:lnTo>
                  <a:pt x="1161" y="111"/>
                </a:lnTo>
                <a:lnTo>
                  <a:pt x="1149" y="115"/>
                </a:lnTo>
                <a:lnTo>
                  <a:pt x="1141" y="120"/>
                </a:lnTo>
                <a:lnTo>
                  <a:pt x="1132" y="127"/>
                </a:lnTo>
                <a:lnTo>
                  <a:pt x="1124" y="135"/>
                </a:lnTo>
                <a:lnTo>
                  <a:pt x="1118" y="145"/>
                </a:lnTo>
                <a:lnTo>
                  <a:pt x="1115" y="156"/>
                </a:lnTo>
                <a:lnTo>
                  <a:pt x="1113" y="168"/>
                </a:lnTo>
                <a:lnTo>
                  <a:pt x="1113" y="168"/>
                </a:lnTo>
                <a:lnTo>
                  <a:pt x="1115" y="180"/>
                </a:lnTo>
                <a:lnTo>
                  <a:pt x="1118" y="190"/>
                </a:lnTo>
                <a:lnTo>
                  <a:pt x="1124" y="200"/>
                </a:lnTo>
                <a:lnTo>
                  <a:pt x="1132" y="209"/>
                </a:lnTo>
                <a:lnTo>
                  <a:pt x="1141" y="216"/>
                </a:lnTo>
                <a:lnTo>
                  <a:pt x="1149" y="221"/>
                </a:lnTo>
                <a:lnTo>
                  <a:pt x="1161" y="224"/>
                </a:lnTo>
                <a:lnTo>
                  <a:pt x="1173" y="226"/>
                </a:lnTo>
                <a:close/>
                <a:moveTo>
                  <a:pt x="1398" y="343"/>
                </a:moveTo>
                <a:lnTo>
                  <a:pt x="1398" y="343"/>
                </a:lnTo>
                <a:lnTo>
                  <a:pt x="1410" y="341"/>
                </a:lnTo>
                <a:lnTo>
                  <a:pt x="1420" y="337"/>
                </a:lnTo>
                <a:lnTo>
                  <a:pt x="1430" y="332"/>
                </a:lnTo>
                <a:lnTo>
                  <a:pt x="1439" y="325"/>
                </a:lnTo>
                <a:lnTo>
                  <a:pt x="1446" y="317"/>
                </a:lnTo>
                <a:lnTo>
                  <a:pt x="1452" y="307"/>
                </a:lnTo>
                <a:lnTo>
                  <a:pt x="1456" y="296"/>
                </a:lnTo>
                <a:lnTo>
                  <a:pt x="1456" y="284"/>
                </a:lnTo>
                <a:lnTo>
                  <a:pt x="1456" y="284"/>
                </a:lnTo>
                <a:lnTo>
                  <a:pt x="1456" y="272"/>
                </a:lnTo>
                <a:lnTo>
                  <a:pt x="1452" y="262"/>
                </a:lnTo>
                <a:lnTo>
                  <a:pt x="1446" y="252"/>
                </a:lnTo>
                <a:lnTo>
                  <a:pt x="1439" y="243"/>
                </a:lnTo>
                <a:lnTo>
                  <a:pt x="1430" y="236"/>
                </a:lnTo>
                <a:lnTo>
                  <a:pt x="1420" y="231"/>
                </a:lnTo>
                <a:lnTo>
                  <a:pt x="1410" y="228"/>
                </a:lnTo>
                <a:lnTo>
                  <a:pt x="1398" y="226"/>
                </a:lnTo>
                <a:lnTo>
                  <a:pt x="1398" y="226"/>
                </a:lnTo>
                <a:lnTo>
                  <a:pt x="1386" y="228"/>
                </a:lnTo>
                <a:lnTo>
                  <a:pt x="1375" y="231"/>
                </a:lnTo>
                <a:lnTo>
                  <a:pt x="1365" y="236"/>
                </a:lnTo>
                <a:lnTo>
                  <a:pt x="1356" y="243"/>
                </a:lnTo>
                <a:lnTo>
                  <a:pt x="1350" y="252"/>
                </a:lnTo>
                <a:lnTo>
                  <a:pt x="1344" y="262"/>
                </a:lnTo>
                <a:lnTo>
                  <a:pt x="1341" y="272"/>
                </a:lnTo>
                <a:lnTo>
                  <a:pt x="1339" y="284"/>
                </a:lnTo>
                <a:lnTo>
                  <a:pt x="1339" y="284"/>
                </a:lnTo>
                <a:lnTo>
                  <a:pt x="1341" y="296"/>
                </a:lnTo>
                <a:lnTo>
                  <a:pt x="1344" y="307"/>
                </a:lnTo>
                <a:lnTo>
                  <a:pt x="1350" y="317"/>
                </a:lnTo>
                <a:lnTo>
                  <a:pt x="1356" y="325"/>
                </a:lnTo>
                <a:lnTo>
                  <a:pt x="1365" y="332"/>
                </a:lnTo>
                <a:lnTo>
                  <a:pt x="1375" y="337"/>
                </a:lnTo>
                <a:lnTo>
                  <a:pt x="1386" y="341"/>
                </a:lnTo>
                <a:lnTo>
                  <a:pt x="1398" y="343"/>
                </a:lnTo>
                <a:close/>
                <a:moveTo>
                  <a:pt x="1173" y="425"/>
                </a:moveTo>
                <a:lnTo>
                  <a:pt x="1173" y="425"/>
                </a:lnTo>
                <a:lnTo>
                  <a:pt x="1175" y="437"/>
                </a:lnTo>
                <a:lnTo>
                  <a:pt x="1178" y="447"/>
                </a:lnTo>
                <a:lnTo>
                  <a:pt x="1183" y="457"/>
                </a:lnTo>
                <a:lnTo>
                  <a:pt x="1190" y="466"/>
                </a:lnTo>
                <a:lnTo>
                  <a:pt x="1199" y="473"/>
                </a:lnTo>
                <a:lnTo>
                  <a:pt x="1209" y="480"/>
                </a:lnTo>
                <a:lnTo>
                  <a:pt x="1221" y="483"/>
                </a:lnTo>
                <a:lnTo>
                  <a:pt x="1233" y="483"/>
                </a:lnTo>
                <a:lnTo>
                  <a:pt x="1233" y="483"/>
                </a:lnTo>
                <a:lnTo>
                  <a:pt x="1243" y="483"/>
                </a:lnTo>
                <a:lnTo>
                  <a:pt x="1255" y="480"/>
                </a:lnTo>
                <a:lnTo>
                  <a:pt x="1266" y="473"/>
                </a:lnTo>
                <a:lnTo>
                  <a:pt x="1274" y="466"/>
                </a:lnTo>
                <a:lnTo>
                  <a:pt x="1281" y="457"/>
                </a:lnTo>
                <a:lnTo>
                  <a:pt x="1286" y="447"/>
                </a:lnTo>
                <a:lnTo>
                  <a:pt x="1290" y="437"/>
                </a:lnTo>
                <a:lnTo>
                  <a:pt x="1291" y="425"/>
                </a:lnTo>
                <a:lnTo>
                  <a:pt x="1291" y="425"/>
                </a:lnTo>
                <a:lnTo>
                  <a:pt x="1290" y="413"/>
                </a:lnTo>
                <a:lnTo>
                  <a:pt x="1286" y="403"/>
                </a:lnTo>
                <a:lnTo>
                  <a:pt x="1281" y="392"/>
                </a:lnTo>
                <a:lnTo>
                  <a:pt x="1274" y="384"/>
                </a:lnTo>
                <a:lnTo>
                  <a:pt x="1266" y="377"/>
                </a:lnTo>
                <a:lnTo>
                  <a:pt x="1255" y="372"/>
                </a:lnTo>
                <a:lnTo>
                  <a:pt x="1243" y="368"/>
                </a:lnTo>
                <a:lnTo>
                  <a:pt x="1233" y="367"/>
                </a:lnTo>
                <a:lnTo>
                  <a:pt x="1233" y="367"/>
                </a:lnTo>
                <a:lnTo>
                  <a:pt x="1221" y="368"/>
                </a:lnTo>
                <a:lnTo>
                  <a:pt x="1209" y="372"/>
                </a:lnTo>
                <a:lnTo>
                  <a:pt x="1199" y="377"/>
                </a:lnTo>
                <a:lnTo>
                  <a:pt x="1190" y="384"/>
                </a:lnTo>
                <a:lnTo>
                  <a:pt x="1183" y="392"/>
                </a:lnTo>
                <a:lnTo>
                  <a:pt x="1178" y="403"/>
                </a:lnTo>
                <a:lnTo>
                  <a:pt x="1175" y="413"/>
                </a:lnTo>
                <a:lnTo>
                  <a:pt x="1173" y="425"/>
                </a:lnTo>
                <a:close/>
                <a:moveTo>
                  <a:pt x="291" y="483"/>
                </a:moveTo>
                <a:lnTo>
                  <a:pt x="291" y="483"/>
                </a:lnTo>
                <a:lnTo>
                  <a:pt x="303" y="483"/>
                </a:lnTo>
                <a:lnTo>
                  <a:pt x="313" y="480"/>
                </a:lnTo>
                <a:lnTo>
                  <a:pt x="323" y="473"/>
                </a:lnTo>
                <a:lnTo>
                  <a:pt x="332" y="466"/>
                </a:lnTo>
                <a:lnTo>
                  <a:pt x="339" y="457"/>
                </a:lnTo>
                <a:lnTo>
                  <a:pt x="346" y="447"/>
                </a:lnTo>
                <a:lnTo>
                  <a:pt x="349" y="437"/>
                </a:lnTo>
                <a:lnTo>
                  <a:pt x="349" y="425"/>
                </a:lnTo>
                <a:lnTo>
                  <a:pt x="349" y="425"/>
                </a:lnTo>
                <a:lnTo>
                  <a:pt x="349" y="413"/>
                </a:lnTo>
                <a:lnTo>
                  <a:pt x="346" y="403"/>
                </a:lnTo>
                <a:lnTo>
                  <a:pt x="339" y="392"/>
                </a:lnTo>
                <a:lnTo>
                  <a:pt x="332" y="384"/>
                </a:lnTo>
                <a:lnTo>
                  <a:pt x="323" y="377"/>
                </a:lnTo>
                <a:lnTo>
                  <a:pt x="313" y="372"/>
                </a:lnTo>
                <a:lnTo>
                  <a:pt x="303" y="368"/>
                </a:lnTo>
                <a:lnTo>
                  <a:pt x="291" y="367"/>
                </a:lnTo>
                <a:lnTo>
                  <a:pt x="291" y="367"/>
                </a:lnTo>
                <a:lnTo>
                  <a:pt x="279" y="368"/>
                </a:lnTo>
                <a:lnTo>
                  <a:pt x="269" y="372"/>
                </a:lnTo>
                <a:lnTo>
                  <a:pt x="258" y="377"/>
                </a:lnTo>
                <a:lnTo>
                  <a:pt x="250" y="384"/>
                </a:lnTo>
                <a:lnTo>
                  <a:pt x="243" y="392"/>
                </a:lnTo>
                <a:lnTo>
                  <a:pt x="238" y="403"/>
                </a:lnTo>
                <a:lnTo>
                  <a:pt x="234" y="413"/>
                </a:lnTo>
                <a:lnTo>
                  <a:pt x="233" y="425"/>
                </a:lnTo>
                <a:lnTo>
                  <a:pt x="233" y="425"/>
                </a:lnTo>
                <a:lnTo>
                  <a:pt x="234" y="437"/>
                </a:lnTo>
                <a:lnTo>
                  <a:pt x="238" y="447"/>
                </a:lnTo>
                <a:lnTo>
                  <a:pt x="243" y="457"/>
                </a:lnTo>
                <a:lnTo>
                  <a:pt x="250" y="466"/>
                </a:lnTo>
                <a:lnTo>
                  <a:pt x="258" y="473"/>
                </a:lnTo>
                <a:lnTo>
                  <a:pt x="269" y="480"/>
                </a:lnTo>
                <a:lnTo>
                  <a:pt x="279" y="483"/>
                </a:lnTo>
                <a:lnTo>
                  <a:pt x="291" y="48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46"/>
          <p:cNvSpPr>
            <a:spLocks noEditPoints="1"/>
          </p:cNvSpPr>
          <p:nvPr/>
        </p:nvSpPr>
        <p:spPr bwMode="auto">
          <a:xfrm>
            <a:off x="5078982" y="5614938"/>
            <a:ext cx="199362" cy="282207"/>
          </a:xfrm>
          <a:custGeom>
            <a:avLst/>
            <a:gdLst>
              <a:gd name="T0" fmla="*/ 20 w 1492"/>
              <a:gd name="T1" fmla="*/ 1957 h 2111"/>
              <a:gd name="T2" fmla="*/ 2 w 1492"/>
              <a:gd name="T3" fmla="*/ 1942 h 2111"/>
              <a:gd name="T4" fmla="*/ 0 w 1492"/>
              <a:gd name="T5" fmla="*/ 26 h 2111"/>
              <a:gd name="T6" fmla="*/ 2 w 1492"/>
              <a:gd name="T7" fmla="*/ 17 h 2111"/>
              <a:gd name="T8" fmla="*/ 20 w 1492"/>
              <a:gd name="T9" fmla="*/ 2 h 2111"/>
              <a:gd name="T10" fmla="*/ 1026 w 1492"/>
              <a:gd name="T11" fmla="*/ 0 h 2111"/>
              <a:gd name="T12" fmla="*/ 1045 w 1492"/>
              <a:gd name="T13" fmla="*/ 8 h 2111"/>
              <a:gd name="T14" fmla="*/ 1052 w 1492"/>
              <a:gd name="T15" fmla="*/ 26 h 2111"/>
              <a:gd name="T16" fmla="*/ 963 w 1492"/>
              <a:gd name="T17" fmla="*/ 217 h 2111"/>
              <a:gd name="T18" fmla="*/ 713 w 1492"/>
              <a:gd name="T19" fmla="*/ 1739 h 2111"/>
              <a:gd name="T20" fmla="*/ 409 w 1492"/>
              <a:gd name="T21" fmla="*/ 1434 h 2111"/>
              <a:gd name="T22" fmla="*/ 205 w 1492"/>
              <a:gd name="T23" fmla="*/ 334 h 2111"/>
              <a:gd name="T24" fmla="*/ 723 w 1492"/>
              <a:gd name="T25" fmla="*/ 1121 h 2111"/>
              <a:gd name="T26" fmla="*/ 689 w 1492"/>
              <a:gd name="T27" fmla="*/ 1093 h 2111"/>
              <a:gd name="T28" fmla="*/ 629 w 1492"/>
              <a:gd name="T29" fmla="*/ 1066 h 2111"/>
              <a:gd name="T30" fmla="*/ 565 w 1492"/>
              <a:gd name="T31" fmla="*/ 1056 h 2111"/>
              <a:gd name="T32" fmla="*/ 524 w 1492"/>
              <a:gd name="T33" fmla="*/ 1061 h 2111"/>
              <a:gd name="T34" fmla="*/ 462 w 1492"/>
              <a:gd name="T35" fmla="*/ 1081 h 2111"/>
              <a:gd name="T36" fmla="*/ 409 w 1492"/>
              <a:gd name="T37" fmla="*/ 1121 h 2111"/>
              <a:gd name="T38" fmla="*/ 380 w 1492"/>
              <a:gd name="T39" fmla="*/ 1157 h 2111"/>
              <a:gd name="T40" fmla="*/ 353 w 1492"/>
              <a:gd name="T41" fmla="*/ 1215 h 2111"/>
              <a:gd name="T42" fmla="*/ 344 w 1492"/>
              <a:gd name="T43" fmla="*/ 1278 h 2111"/>
              <a:gd name="T44" fmla="*/ 348 w 1492"/>
              <a:gd name="T45" fmla="*/ 1321 h 2111"/>
              <a:gd name="T46" fmla="*/ 370 w 1492"/>
              <a:gd name="T47" fmla="*/ 1381 h 2111"/>
              <a:gd name="T48" fmla="*/ 409 w 1492"/>
              <a:gd name="T49" fmla="*/ 1434 h 2111"/>
              <a:gd name="T50" fmla="*/ 1249 w 1492"/>
              <a:gd name="T51" fmla="*/ 2110 h 2111"/>
              <a:gd name="T52" fmla="*/ 1052 w 1492"/>
              <a:gd name="T53" fmla="*/ 1913 h 2111"/>
              <a:gd name="T54" fmla="*/ 762 w 1492"/>
              <a:gd name="T55" fmla="*/ 1623 h 2111"/>
              <a:gd name="T56" fmla="*/ 485 w 1492"/>
              <a:gd name="T57" fmla="*/ 1344 h 2111"/>
              <a:gd name="T58" fmla="*/ 469 w 1492"/>
              <a:gd name="T59" fmla="*/ 1318 h 2111"/>
              <a:gd name="T60" fmla="*/ 461 w 1492"/>
              <a:gd name="T61" fmla="*/ 1278 h 2111"/>
              <a:gd name="T62" fmla="*/ 473 w 1492"/>
              <a:gd name="T63" fmla="*/ 1229 h 2111"/>
              <a:gd name="T64" fmla="*/ 492 w 1492"/>
              <a:gd name="T65" fmla="*/ 1205 h 2111"/>
              <a:gd name="T66" fmla="*/ 509 w 1492"/>
              <a:gd name="T67" fmla="*/ 1191 h 2111"/>
              <a:gd name="T68" fmla="*/ 546 w 1492"/>
              <a:gd name="T69" fmla="*/ 1176 h 2111"/>
              <a:gd name="T70" fmla="*/ 586 w 1492"/>
              <a:gd name="T71" fmla="*/ 1176 h 2111"/>
              <a:gd name="T72" fmla="*/ 623 w 1492"/>
              <a:gd name="T73" fmla="*/ 1191 h 2111"/>
              <a:gd name="T74" fmla="*/ 846 w 1492"/>
              <a:gd name="T75" fmla="*/ 1410 h 2111"/>
              <a:gd name="T76" fmla="*/ 1052 w 1492"/>
              <a:gd name="T77" fmla="*/ 1616 h 2111"/>
              <a:gd name="T78" fmla="*/ 1170 w 1492"/>
              <a:gd name="T79" fmla="*/ 982 h 2111"/>
              <a:gd name="T80" fmla="*/ 1492 w 1492"/>
              <a:gd name="T81" fmla="*/ 2111 h 2111"/>
              <a:gd name="T82" fmla="*/ 514 w 1492"/>
              <a:gd name="T83" fmla="*/ 1793 h 2111"/>
              <a:gd name="T84" fmla="*/ 483 w 1492"/>
              <a:gd name="T85" fmla="*/ 1810 h 2111"/>
              <a:gd name="T86" fmla="*/ 468 w 1492"/>
              <a:gd name="T87" fmla="*/ 1839 h 2111"/>
              <a:gd name="T88" fmla="*/ 468 w 1492"/>
              <a:gd name="T89" fmla="*/ 1863 h 2111"/>
              <a:gd name="T90" fmla="*/ 483 w 1492"/>
              <a:gd name="T91" fmla="*/ 1894 h 2111"/>
              <a:gd name="T92" fmla="*/ 514 w 1492"/>
              <a:gd name="T93" fmla="*/ 1909 h 2111"/>
              <a:gd name="T94" fmla="*/ 538 w 1492"/>
              <a:gd name="T95" fmla="*/ 1911 h 2111"/>
              <a:gd name="T96" fmla="*/ 567 w 1492"/>
              <a:gd name="T97" fmla="*/ 1894 h 2111"/>
              <a:gd name="T98" fmla="*/ 584 w 1492"/>
              <a:gd name="T99" fmla="*/ 1865 h 2111"/>
              <a:gd name="T100" fmla="*/ 584 w 1492"/>
              <a:gd name="T101" fmla="*/ 1841 h 2111"/>
              <a:gd name="T102" fmla="*/ 569 w 1492"/>
              <a:gd name="T103" fmla="*/ 1810 h 2111"/>
              <a:gd name="T104" fmla="*/ 538 w 1492"/>
              <a:gd name="T105" fmla="*/ 1793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2" h="2111">
                <a:moveTo>
                  <a:pt x="26" y="1957"/>
                </a:moveTo>
                <a:lnTo>
                  <a:pt x="26" y="1957"/>
                </a:lnTo>
                <a:lnTo>
                  <a:pt x="20" y="1957"/>
                </a:lnTo>
                <a:lnTo>
                  <a:pt x="15" y="1955"/>
                </a:lnTo>
                <a:lnTo>
                  <a:pt x="7" y="1950"/>
                </a:lnTo>
                <a:lnTo>
                  <a:pt x="2" y="1942"/>
                </a:lnTo>
                <a:lnTo>
                  <a:pt x="0" y="1937"/>
                </a:lnTo>
                <a:lnTo>
                  <a:pt x="0" y="1931"/>
                </a:lnTo>
                <a:lnTo>
                  <a:pt x="0" y="26"/>
                </a:lnTo>
                <a:lnTo>
                  <a:pt x="0" y="26"/>
                </a:lnTo>
                <a:lnTo>
                  <a:pt x="0" y="20"/>
                </a:lnTo>
                <a:lnTo>
                  <a:pt x="2" y="17"/>
                </a:lnTo>
                <a:lnTo>
                  <a:pt x="7" y="8"/>
                </a:lnTo>
                <a:lnTo>
                  <a:pt x="15" y="3"/>
                </a:lnTo>
                <a:lnTo>
                  <a:pt x="20" y="2"/>
                </a:lnTo>
                <a:lnTo>
                  <a:pt x="26" y="0"/>
                </a:lnTo>
                <a:lnTo>
                  <a:pt x="1026" y="0"/>
                </a:lnTo>
                <a:lnTo>
                  <a:pt x="1026" y="0"/>
                </a:lnTo>
                <a:lnTo>
                  <a:pt x="1031" y="2"/>
                </a:lnTo>
                <a:lnTo>
                  <a:pt x="1036" y="3"/>
                </a:lnTo>
                <a:lnTo>
                  <a:pt x="1045" y="8"/>
                </a:lnTo>
                <a:lnTo>
                  <a:pt x="1050" y="17"/>
                </a:lnTo>
                <a:lnTo>
                  <a:pt x="1052" y="20"/>
                </a:lnTo>
                <a:lnTo>
                  <a:pt x="1052" y="26"/>
                </a:lnTo>
                <a:lnTo>
                  <a:pt x="1052" y="1451"/>
                </a:lnTo>
                <a:lnTo>
                  <a:pt x="963" y="1361"/>
                </a:lnTo>
                <a:lnTo>
                  <a:pt x="963" y="217"/>
                </a:lnTo>
                <a:lnTo>
                  <a:pt x="89" y="217"/>
                </a:lnTo>
                <a:lnTo>
                  <a:pt x="89" y="1739"/>
                </a:lnTo>
                <a:lnTo>
                  <a:pt x="713" y="1739"/>
                </a:lnTo>
                <a:lnTo>
                  <a:pt x="930" y="1957"/>
                </a:lnTo>
                <a:lnTo>
                  <a:pt x="26" y="1957"/>
                </a:lnTo>
                <a:close/>
                <a:moveTo>
                  <a:pt x="409" y="1434"/>
                </a:moveTo>
                <a:lnTo>
                  <a:pt x="596" y="1623"/>
                </a:lnTo>
                <a:lnTo>
                  <a:pt x="205" y="1623"/>
                </a:lnTo>
                <a:lnTo>
                  <a:pt x="205" y="334"/>
                </a:lnTo>
                <a:lnTo>
                  <a:pt x="846" y="334"/>
                </a:lnTo>
                <a:lnTo>
                  <a:pt x="846" y="1244"/>
                </a:lnTo>
                <a:lnTo>
                  <a:pt x="723" y="1121"/>
                </a:lnTo>
                <a:lnTo>
                  <a:pt x="723" y="1121"/>
                </a:lnTo>
                <a:lnTo>
                  <a:pt x="706" y="1105"/>
                </a:lnTo>
                <a:lnTo>
                  <a:pt x="689" y="1093"/>
                </a:lnTo>
                <a:lnTo>
                  <a:pt x="670" y="1081"/>
                </a:lnTo>
                <a:lnTo>
                  <a:pt x="649" y="1073"/>
                </a:lnTo>
                <a:lnTo>
                  <a:pt x="629" y="1066"/>
                </a:lnTo>
                <a:lnTo>
                  <a:pt x="608" y="1061"/>
                </a:lnTo>
                <a:lnTo>
                  <a:pt x="587" y="1057"/>
                </a:lnTo>
                <a:lnTo>
                  <a:pt x="565" y="1056"/>
                </a:lnTo>
                <a:lnTo>
                  <a:pt x="565" y="1056"/>
                </a:lnTo>
                <a:lnTo>
                  <a:pt x="545" y="1057"/>
                </a:lnTo>
                <a:lnTo>
                  <a:pt x="524" y="1061"/>
                </a:lnTo>
                <a:lnTo>
                  <a:pt x="504" y="1066"/>
                </a:lnTo>
                <a:lnTo>
                  <a:pt x="483" y="1073"/>
                </a:lnTo>
                <a:lnTo>
                  <a:pt x="462" y="1081"/>
                </a:lnTo>
                <a:lnTo>
                  <a:pt x="444" y="1093"/>
                </a:lnTo>
                <a:lnTo>
                  <a:pt x="426" y="1105"/>
                </a:lnTo>
                <a:lnTo>
                  <a:pt x="409" y="1121"/>
                </a:lnTo>
                <a:lnTo>
                  <a:pt x="409" y="1121"/>
                </a:lnTo>
                <a:lnTo>
                  <a:pt x="394" y="1138"/>
                </a:lnTo>
                <a:lnTo>
                  <a:pt x="380" y="1157"/>
                </a:lnTo>
                <a:lnTo>
                  <a:pt x="370" y="1176"/>
                </a:lnTo>
                <a:lnTo>
                  <a:pt x="360" y="1194"/>
                </a:lnTo>
                <a:lnTo>
                  <a:pt x="353" y="1215"/>
                </a:lnTo>
                <a:lnTo>
                  <a:pt x="348" y="1236"/>
                </a:lnTo>
                <a:lnTo>
                  <a:pt x="344" y="1258"/>
                </a:lnTo>
                <a:lnTo>
                  <a:pt x="344" y="1278"/>
                </a:lnTo>
                <a:lnTo>
                  <a:pt x="344" y="1278"/>
                </a:lnTo>
                <a:lnTo>
                  <a:pt x="344" y="1299"/>
                </a:lnTo>
                <a:lnTo>
                  <a:pt x="348" y="1321"/>
                </a:lnTo>
                <a:lnTo>
                  <a:pt x="353" y="1342"/>
                </a:lnTo>
                <a:lnTo>
                  <a:pt x="360" y="1362"/>
                </a:lnTo>
                <a:lnTo>
                  <a:pt x="370" y="1381"/>
                </a:lnTo>
                <a:lnTo>
                  <a:pt x="380" y="1400"/>
                </a:lnTo>
                <a:lnTo>
                  <a:pt x="394" y="1419"/>
                </a:lnTo>
                <a:lnTo>
                  <a:pt x="409" y="1434"/>
                </a:lnTo>
                <a:lnTo>
                  <a:pt x="409" y="1434"/>
                </a:lnTo>
                <a:close/>
                <a:moveTo>
                  <a:pt x="1492" y="2111"/>
                </a:moveTo>
                <a:lnTo>
                  <a:pt x="1249" y="2110"/>
                </a:lnTo>
                <a:lnTo>
                  <a:pt x="1148" y="2009"/>
                </a:lnTo>
                <a:lnTo>
                  <a:pt x="1103" y="1964"/>
                </a:lnTo>
                <a:lnTo>
                  <a:pt x="1052" y="1913"/>
                </a:lnTo>
                <a:lnTo>
                  <a:pt x="879" y="1739"/>
                </a:lnTo>
                <a:lnTo>
                  <a:pt x="820" y="1681"/>
                </a:lnTo>
                <a:lnTo>
                  <a:pt x="762" y="1623"/>
                </a:lnTo>
                <a:lnTo>
                  <a:pt x="492" y="1352"/>
                </a:lnTo>
                <a:lnTo>
                  <a:pt x="492" y="1352"/>
                </a:lnTo>
                <a:lnTo>
                  <a:pt x="485" y="1344"/>
                </a:lnTo>
                <a:lnTo>
                  <a:pt x="478" y="1337"/>
                </a:lnTo>
                <a:lnTo>
                  <a:pt x="473" y="1326"/>
                </a:lnTo>
                <a:lnTo>
                  <a:pt x="469" y="1318"/>
                </a:lnTo>
                <a:lnTo>
                  <a:pt x="462" y="1299"/>
                </a:lnTo>
                <a:lnTo>
                  <a:pt x="461" y="1278"/>
                </a:lnTo>
                <a:lnTo>
                  <a:pt x="461" y="1278"/>
                </a:lnTo>
                <a:lnTo>
                  <a:pt x="462" y="1258"/>
                </a:lnTo>
                <a:lnTo>
                  <a:pt x="469" y="1239"/>
                </a:lnTo>
                <a:lnTo>
                  <a:pt x="473" y="1229"/>
                </a:lnTo>
                <a:lnTo>
                  <a:pt x="478" y="1220"/>
                </a:lnTo>
                <a:lnTo>
                  <a:pt x="485" y="1212"/>
                </a:lnTo>
                <a:lnTo>
                  <a:pt x="492" y="1205"/>
                </a:lnTo>
                <a:lnTo>
                  <a:pt x="492" y="1205"/>
                </a:lnTo>
                <a:lnTo>
                  <a:pt x="500" y="1196"/>
                </a:lnTo>
                <a:lnTo>
                  <a:pt x="509" y="1191"/>
                </a:lnTo>
                <a:lnTo>
                  <a:pt x="517" y="1186"/>
                </a:lnTo>
                <a:lnTo>
                  <a:pt x="526" y="1181"/>
                </a:lnTo>
                <a:lnTo>
                  <a:pt x="546" y="1176"/>
                </a:lnTo>
                <a:lnTo>
                  <a:pt x="565" y="1174"/>
                </a:lnTo>
                <a:lnTo>
                  <a:pt x="565" y="1174"/>
                </a:lnTo>
                <a:lnTo>
                  <a:pt x="586" y="1176"/>
                </a:lnTo>
                <a:lnTo>
                  <a:pt x="605" y="1181"/>
                </a:lnTo>
                <a:lnTo>
                  <a:pt x="615" y="1186"/>
                </a:lnTo>
                <a:lnTo>
                  <a:pt x="623" y="1191"/>
                </a:lnTo>
                <a:lnTo>
                  <a:pt x="632" y="1196"/>
                </a:lnTo>
                <a:lnTo>
                  <a:pt x="641" y="1205"/>
                </a:lnTo>
                <a:lnTo>
                  <a:pt x="846" y="1410"/>
                </a:lnTo>
                <a:lnTo>
                  <a:pt x="904" y="1469"/>
                </a:lnTo>
                <a:lnTo>
                  <a:pt x="963" y="1527"/>
                </a:lnTo>
                <a:lnTo>
                  <a:pt x="1052" y="1616"/>
                </a:lnTo>
                <a:lnTo>
                  <a:pt x="1110" y="1674"/>
                </a:lnTo>
                <a:lnTo>
                  <a:pt x="1170" y="1734"/>
                </a:lnTo>
                <a:lnTo>
                  <a:pt x="1170" y="982"/>
                </a:lnTo>
                <a:lnTo>
                  <a:pt x="1170" y="982"/>
                </a:lnTo>
                <a:lnTo>
                  <a:pt x="1492" y="1304"/>
                </a:lnTo>
                <a:lnTo>
                  <a:pt x="1492" y="2111"/>
                </a:lnTo>
                <a:close/>
                <a:moveTo>
                  <a:pt x="526" y="1793"/>
                </a:moveTo>
                <a:lnTo>
                  <a:pt x="526" y="1793"/>
                </a:lnTo>
                <a:lnTo>
                  <a:pt x="514" y="1793"/>
                </a:lnTo>
                <a:lnTo>
                  <a:pt x="502" y="1796"/>
                </a:lnTo>
                <a:lnTo>
                  <a:pt x="493" y="1803"/>
                </a:lnTo>
                <a:lnTo>
                  <a:pt x="483" y="1810"/>
                </a:lnTo>
                <a:lnTo>
                  <a:pt x="476" y="1818"/>
                </a:lnTo>
                <a:lnTo>
                  <a:pt x="471" y="1829"/>
                </a:lnTo>
                <a:lnTo>
                  <a:pt x="468" y="1839"/>
                </a:lnTo>
                <a:lnTo>
                  <a:pt x="466" y="1851"/>
                </a:lnTo>
                <a:lnTo>
                  <a:pt x="466" y="1851"/>
                </a:lnTo>
                <a:lnTo>
                  <a:pt x="468" y="1863"/>
                </a:lnTo>
                <a:lnTo>
                  <a:pt x="471" y="1875"/>
                </a:lnTo>
                <a:lnTo>
                  <a:pt x="476" y="1885"/>
                </a:lnTo>
                <a:lnTo>
                  <a:pt x="483" y="1894"/>
                </a:lnTo>
                <a:lnTo>
                  <a:pt x="492" y="1901"/>
                </a:lnTo>
                <a:lnTo>
                  <a:pt x="502" y="1906"/>
                </a:lnTo>
                <a:lnTo>
                  <a:pt x="514" y="1909"/>
                </a:lnTo>
                <a:lnTo>
                  <a:pt x="526" y="1911"/>
                </a:lnTo>
                <a:lnTo>
                  <a:pt x="526" y="1911"/>
                </a:lnTo>
                <a:lnTo>
                  <a:pt x="538" y="1911"/>
                </a:lnTo>
                <a:lnTo>
                  <a:pt x="548" y="1907"/>
                </a:lnTo>
                <a:lnTo>
                  <a:pt x="558" y="1901"/>
                </a:lnTo>
                <a:lnTo>
                  <a:pt x="567" y="1894"/>
                </a:lnTo>
                <a:lnTo>
                  <a:pt x="575" y="1885"/>
                </a:lnTo>
                <a:lnTo>
                  <a:pt x="581" y="1875"/>
                </a:lnTo>
                <a:lnTo>
                  <a:pt x="584" y="1865"/>
                </a:lnTo>
                <a:lnTo>
                  <a:pt x="586" y="1853"/>
                </a:lnTo>
                <a:lnTo>
                  <a:pt x="586" y="1853"/>
                </a:lnTo>
                <a:lnTo>
                  <a:pt x="584" y="1841"/>
                </a:lnTo>
                <a:lnTo>
                  <a:pt x="581" y="1829"/>
                </a:lnTo>
                <a:lnTo>
                  <a:pt x="575" y="1818"/>
                </a:lnTo>
                <a:lnTo>
                  <a:pt x="569" y="1810"/>
                </a:lnTo>
                <a:lnTo>
                  <a:pt x="558" y="1803"/>
                </a:lnTo>
                <a:lnTo>
                  <a:pt x="548" y="1798"/>
                </a:lnTo>
                <a:lnTo>
                  <a:pt x="538" y="1793"/>
                </a:lnTo>
                <a:lnTo>
                  <a:pt x="526" y="1793"/>
                </a:lnTo>
                <a:lnTo>
                  <a:pt x="526" y="17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Freeform 49"/>
          <p:cNvSpPr>
            <a:spLocks noEditPoints="1"/>
          </p:cNvSpPr>
          <p:nvPr/>
        </p:nvSpPr>
        <p:spPr bwMode="auto">
          <a:xfrm>
            <a:off x="2424539" y="4179656"/>
            <a:ext cx="302760" cy="191786"/>
          </a:xfrm>
          <a:custGeom>
            <a:avLst/>
            <a:gdLst>
              <a:gd name="T0" fmla="*/ 896 w 2128"/>
              <a:gd name="T1" fmla="*/ 55 h 1347"/>
              <a:gd name="T2" fmla="*/ 951 w 2128"/>
              <a:gd name="T3" fmla="*/ 206 h 1347"/>
              <a:gd name="T4" fmla="*/ 854 w 2128"/>
              <a:gd name="T5" fmla="*/ 350 h 1347"/>
              <a:gd name="T6" fmla="*/ 693 w 2128"/>
              <a:gd name="T7" fmla="*/ 358 h 1347"/>
              <a:gd name="T8" fmla="*/ 583 w 2128"/>
              <a:gd name="T9" fmla="*/ 224 h 1347"/>
              <a:gd name="T10" fmla="*/ 622 w 2128"/>
              <a:gd name="T11" fmla="*/ 69 h 1347"/>
              <a:gd name="T12" fmla="*/ 766 w 2128"/>
              <a:gd name="T13" fmla="*/ 0 h 1347"/>
              <a:gd name="T14" fmla="*/ 309 w 2128"/>
              <a:gd name="T15" fmla="*/ 415 h 1347"/>
              <a:gd name="T16" fmla="*/ 348 w 2128"/>
              <a:gd name="T17" fmla="*/ 523 h 1347"/>
              <a:gd name="T18" fmla="*/ 280 w 2128"/>
              <a:gd name="T19" fmla="*/ 626 h 1347"/>
              <a:gd name="T20" fmla="*/ 163 w 2128"/>
              <a:gd name="T21" fmla="*/ 631 h 1347"/>
              <a:gd name="T22" fmla="*/ 86 w 2128"/>
              <a:gd name="T23" fmla="*/ 535 h 1347"/>
              <a:gd name="T24" fmla="*/ 113 w 2128"/>
              <a:gd name="T25" fmla="*/ 425 h 1347"/>
              <a:gd name="T26" fmla="*/ 216 w 2128"/>
              <a:gd name="T27" fmla="*/ 375 h 1347"/>
              <a:gd name="T28" fmla="*/ 322 w 2128"/>
              <a:gd name="T29" fmla="*/ 1311 h 1347"/>
              <a:gd name="T30" fmla="*/ 261 w 2128"/>
              <a:gd name="T31" fmla="*/ 1344 h 1347"/>
              <a:gd name="T32" fmla="*/ 194 w 2128"/>
              <a:gd name="T33" fmla="*/ 1303 h 1347"/>
              <a:gd name="T34" fmla="*/ 139 w 2128"/>
              <a:gd name="T35" fmla="*/ 1345 h 1347"/>
              <a:gd name="T36" fmla="*/ 45 w 2128"/>
              <a:gd name="T37" fmla="*/ 1100 h 1347"/>
              <a:gd name="T38" fmla="*/ 173 w 2128"/>
              <a:gd name="T39" fmla="*/ 698 h 1347"/>
              <a:gd name="T40" fmla="*/ 257 w 2128"/>
              <a:gd name="T41" fmla="*/ 698 h 1347"/>
              <a:gd name="T42" fmla="*/ 997 w 2128"/>
              <a:gd name="T43" fmla="*/ 867 h 1347"/>
              <a:gd name="T44" fmla="*/ 895 w 2128"/>
              <a:gd name="T45" fmla="*/ 1299 h 1347"/>
              <a:gd name="T46" fmla="*/ 848 w 2128"/>
              <a:gd name="T47" fmla="*/ 1347 h 1347"/>
              <a:gd name="T48" fmla="*/ 739 w 2128"/>
              <a:gd name="T49" fmla="*/ 907 h 1347"/>
              <a:gd name="T50" fmla="*/ 691 w 2128"/>
              <a:gd name="T51" fmla="*/ 1347 h 1347"/>
              <a:gd name="T52" fmla="*/ 645 w 2128"/>
              <a:gd name="T53" fmla="*/ 907 h 1347"/>
              <a:gd name="T54" fmla="*/ 533 w 2128"/>
              <a:gd name="T55" fmla="*/ 867 h 1347"/>
              <a:gd name="T56" fmla="*/ 561 w 2128"/>
              <a:gd name="T57" fmla="*/ 442 h 1347"/>
              <a:gd name="T58" fmla="*/ 991 w 2128"/>
              <a:gd name="T59" fmla="*/ 459 h 1347"/>
              <a:gd name="T60" fmla="*/ 2003 w 2128"/>
              <a:gd name="T61" fmla="*/ 386 h 1347"/>
              <a:gd name="T62" fmla="*/ 2080 w 2128"/>
              <a:gd name="T63" fmla="*/ 482 h 1347"/>
              <a:gd name="T64" fmla="*/ 2053 w 2128"/>
              <a:gd name="T65" fmla="*/ 593 h 1347"/>
              <a:gd name="T66" fmla="*/ 1950 w 2128"/>
              <a:gd name="T67" fmla="*/ 641 h 1347"/>
              <a:gd name="T68" fmla="*/ 1840 w 2128"/>
              <a:gd name="T69" fmla="*/ 583 h 1347"/>
              <a:gd name="T70" fmla="*/ 1823 w 2128"/>
              <a:gd name="T71" fmla="*/ 470 h 1347"/>
              <a:gd name="T72" fmla="*/ 1911 w 2128"/>
              <a:gd name="T73" fmla="*/ 382 h 1347"/>
              <a:gd name="T74" fmla="*/ 1467 w 2128"/>
              <a:gd name="T75" fmla="*/ 15 h 1347"/>
              <a:gd name="T76" fmla="*/ 1577 w 2128"/>
              <a:gd name="T77" fmla="*/ 149 h 1347"/>
              <a:gd name="T78" fmla="*/ 1537 w 2128"/>
              <a:gd name="T79" fmla="*/ 305 h 1347"/>
              <a:gd name="T80" fmla="*/ 1393 w 2128"/>
              <a:gd name="T81" fmla="*/ 372 h 1347"/>
              <a:gd name="T82" fmla="*/ 1239 w 2128"/>
              <a:gd name="T83" fmla="*/ 291 h 1347"/>
              <a:gd name="T84" fmla="*/ 1217 w 2128"/>
              <a:gd name="T85" fmla="*/ 132 h 1347"/>
              <a:gd name="T86" fmla="*/ 1338 w 2128"/>
              <a:gd name="T87" fmla="*/ 9 h 1347"/>
              <a:gd name="T88" fmla="*/ 1631 w 2128"/>
              <a:gd name="T89" fmla="*/ 999 h 1347"/>
              <a:gd name="T90" fmla="*/ 1486 w 2128"/>
              <a:gd name="T91" fmla="*/ 1345 h 1347"/>
              <a:gd name="T92" fmla="*/ 1427 w 2128"/>
              <a:gd name="T93" fmla="*/ 1299 h 1347"/>
              <a:gd name="T94" fmla="*/ 1338 w 2128"/>
              <a:gd name="T95" fmla="*/ 1344 h 1347"/>
              <a:gd name="T96" fmla="*/ 1273 w 2128"/>
              <a:gd name="T97" fmla="*/ 1309 h 1347"/>
              <a:gd name="T98" fmla="*/ 1111 w 2128"/>
              <a:gd name="T99" fmla="*/ 967 h 1347"/>
              <a:gd name="T100" fmla="*/ 1393 w 2128"/>
              <a:gd name="T101" fmla="*/ 425 h 1347"/>
              <a:gd name="T102" fmla="*/ 1672 w 2128"/>
              <a:gd name="T103" fmla="*/ 977 h 1347"/>
              <a:gd name="T104" fmla="*/ 2101 w 2128"/>
              <a:gd name="T105" fmla="*/ 1030 h 1347"/>
              <a:gd name="T106" fmla="*/ 2041 w 2128"/>
              <a:gd name="T107" fmla="*/ 1339 h 1347"/>
              <a:gd name="T108" fmla="*/ 1976 w 2128"/>
              <a:gd name="T109" fmla="*/ 1320 h 1347"/>
              <a:gd name="T110" fmla="*/ 1917 w 2128"/>
              <a:gd name="T111" fmla="*/ 1333 h 1347"/>
              <a:gd name="T112" fmla="*/ 1849 w 2128"/>
              <a:gd name="T113" fmla="*/ 1327 h 1347"/>
              <a:gd name="T114" fmla="*/ 1786 w 2128"/>
              <a:gd name="T115" fmla="*/ 1020 h 1347"/>
              <a:gd name="T116" fmla="*/ 1780 w 2128"/>
              <a:gd name="T117" fmla="*/ 698 h 1347"/>
              <a:gd name="T118" fmla="*/ 2101 w 2128"/>
              <a:gd name="T119" fmla="*/ 68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28" h="1347">
                <a:moveTo>
                  <a:pt x="766" y="0"/>
                </a:moveTo>
                <a:lnTo>
                  <a:pt x="766" y="0"/>
                </a:lnTo>
                <a:lnTo>
                  <a:pt x="785" y="2"/>
                </a:lnTo>
                <a:lnTo>
                  <a:pt x="804" y="5"/>
                </a:lnTo>
                <a:lnTo>
                  <a:pt x="821" y="9"/>
                </a:lnTo>
                <a:lnTo>
                  <a:pt x="838" y="15"/>
                </a:lnTo>
                <a:lnTo>
                  <a:pt x="854" y="22"/>
                </a:lnTo>
                <a:lnTo>
                  <a:pt x="869" y="33"/>
                </a:lnTo>
                <a:lnTo>
                  <a:pt x="884" y="43"/>
                </a:lnTo>
                <a:lnTo>
                  <a:pt x="896" y="55"/>
                </a:lnTo>
                <a:lnTo>
                  <a:pt x="908" y="69"/>
                </a:lnTo>
                <a:lnTo>
                  <a:pt x="920" y="82"/>
                </a:lnTo>
                <a:lnTo>
                  <a:pt x="929" y="98"/>
                </a:lnTo>
                <a:lnTo>
                  <a:pt x="938" y="115"/>
                </a:lnTo>
                <a:lnTo>
                  <a:pt x="943" y="132"/>
                </a:lnTo>
                <a:lnTo>
                  <a:pt x="948" y="149"/>
                </a:lnTo>
                <a:lnTo>
                  <a:pt x="951" y="168"/>
                </a:lnTo>
                <a:lnTo>
                  <a:pt x="951" y="187"/>
                </a:lnTo>
                <a:lnTo>
                  <a:pt x="951" y="187"/>
                </a:lnTo>
                <a:lnTo>
                  <a:pt x="951" y="206"/>
                </a:lnTo>
                <a:lnTo>
                  <a:pt x="948" y="224"/>
                </a:lnTo>
                <a:lnTo>
                  <a:pt x="943" y="242"/>
                </a:lnTo>
                <a:lnTo>
                  <a:pt x="938" y="259"/>
                </a:lnTo>
                <a:lnTo>
                  <a:pt x="929" y="276"/>
                </a:lnTo>
                <a:lnTo>
                  <a:pt x="920" y="291"/>
                </a:lnTo>
                <a:lnTo>
                  <a:pt x="908" y="305"/>
                </a:lnTo>
                <a:lnTo>
                  <a:pt x="896" y="319"/>
                </a:lnTo>
                <a:lnTo>
                  <a:pt x="884" y="331"/>
                </a:lnTo>
                <a:lnTo>
                  <a:pt x="869" y="341"/>
                </a:lnTo>
                <a:lnTo>
                  <a:pt x="854" y="350"/>
                </a:lnTo>
                <a:lnTo>
                  <a:pt x="838" y="358"/>
                </a:lnTo>
                <a:lnTo>
                  <a:pt x="821" y="365"/>
                </a:lnTo>
                <a:lnTo>
                  <a:pt x="804" y="368"/>
                </a:lnTo>
                <a:lnTo>
                  <a:pt x="785" y="372"/>
                </a:lnTo>
                <a:lnTo>
                  <a:pt x="766" y="372"/>
                </a:lnTo>
                <a:lnTo>
                  <a:pt x="766" y="372"/>
                </a:lnTo>
                <a:lnTo>
                  <a:pt x="747" y="372"/>
                </a:lnTo>
                <a:lnTo>
                  <a:pt x="729" y="368"/>
                </a:lnTo>
                <a:lnTo>
                  <a:pt x="710" y="365"/>
                </a:lnTo>
                <a:lnTo>
                  <a:pt x="693" y="358"/>
                </a:lnTo>
                <a:lnTo>
                  <a:pt x="677" y="350"/>
                </a:lnTo>
                <a:lnTo>
                  <a:pt x="662" y="341"/>
                </a:lnTo>
                <a:lnTo>
                  <a:pt x="648" y="331"/>
                </a:lnTo>
                <a:lnTo>
                  <a:pt x="634" y="319"/>
                </a:lnTo>
                <a:lnTo>
                  <a:pt x="622" y="305"/>
                </a:lnTo>
                <a:lnTo>
                  <a:pt x="612" y="291"/>
                </a:lnTo>
                <a:lnTo>
                  <a:pt x="602" y="276"/>
                </a:lnTo>
                <a:lnTo>
                  <a:pt x="595" y="259"/>
                </a:lnTo>
                <a:lnTo>
                  <a:pt x="588" y="242"/>
                </a:lnTo>
                <a:lnTo>
                  <a:pt x="583" y="224"/>
                </a:lnTo>
                <a:lnTo>
                  <a:pt x="581" y="206"/>
                </a:lnTo>
                <a:lnTo>
                  <a:pt x="579" y="187"/>
                </a:lnTo>
                <a:lnTo>
                  <a:pt x="579" y="187"/>
                </a:lnTo>
                <a:lnTo>
                  <a:pt x="581" y="168"/>
                </a:lnTo>
                <a:lnTo>
                  <a:pt x="583" y="149"/>
                </a:lnTo>
                <a:lnTo>
                  <a:pt x="588" y="132"/>
                </a:lnTo>
                <a:lnTo>
                  <a:pt x="595" y="115"/>
                </a:lnTo>
                <a:lnTo>
                  <a:pt x="602" y="98"/>
                </a:lnTo>
                <a:lnTo>
                  <a:pt x="612" y="82"/>
                </a:lnTo>
                <a:lnTo>
                  <a:pt x="622" y="69"/>
                </a:lnTo>
                <a:lnTo>
                  <a:pt x="634" y="55"/>
                </a:lnTo>
                <a:lnTo>
                  <a:pt x="648" y="43"/>
                </a:lnTo>
                <a:lnTo>
                  <a:pt x="662" y="33"/>
                </a:lnTo>
                <a:lnTo>
                  <a:pt x="677" y="22"/>
                </a:lnTo>
                <a:lnTo>
                  <a:pt x="693" y="15"/>
                </a:lnTo>
                <a:lnTo>
                  <a:pt x="710" y="9"/>
                </a:lnTo>
                <a:lnTo>
                  <a:pt x="729" y="5"/>
                </a:lnTo>
                <a:lnTo>
                  <a:pt x="747" y="2"/>
                </a:lnTo>
                <a:lnTo>
                  <a:pt x="766" y="0"/>
                </a:lnTo>
                <a:lnTo>
                  <a:pt x="766" y="0"/>
                </a:lnTo>
                <a:close/>
                <a:moveTo>
                  <a:pt x="216" y="375"/>
                </a:moveTo>
                <a:lnTo>
                  <a:pt x="216" y="375"/>
                </a:lnTo>
                <a:lnTo>
                  <a:pt x="230" y="377"/>
                </a:lnTo>
                <a:lnTo>
                  <a:pt x="242" y="379"/>
                </a:lnTo>
                <a:lnTo>
                  <a:pt x="256" y="382"/>
                </a:lnTo>
                <a:lnTo>
                  <a:pt x="268" y="386"/>
                </a:lnTo>
                <a:lnTo>
                  <a:pt x="280" y="392"/>
                </a:lnTo>
                <a:lnTo>
                  <a:pt x="290" y="399"/>
                </a:lnTo>
                <a:lnTo>
                  <a:pt x="300" y="406"/>
                </a:lnTo>
                <a:lnTo>
                  <a:pt x="309" y="415"/>
                </a:lnTo>
                <a:lnTo>
                  <a:pt x="317" y="425"/>
                </a:lnTo>
                <a:lnTo>
                  <a:pt x="326" y="435"/>
                </a:lnTo>
                <a:lnTo>
                  <a:pt x="333" y="446"/>
                </a:lnTo>
                <a:lnTo>
                  <a:pt x="338" y="458"/>
                </a:lnTo>
                <a:lnTo>
                  <a:pt x="343" y="470"/>
                </a:lnTo>
                <a:lnTo>
                  <a:pt x="346" y="482"/>
                </a:lnTo>
                <a:lnTo>
                  <a:pt x="348" y="495"/>
                </a:lnTo>
                <a:lnTo>
                  <a:pt x="348" y="509"/>
                </a:lnTo>
                <a:lnTo>
                  <a:pt x="348" y="509"/>
                </a:lnTo>
                <a:lnTo>
                  <a:pt x="348" y="523"/>
                </a:lnTo>
                <a:lnTo>
                  <a:pt x="346" y="535"/>
                </a:lnTo>
                <a:lnTo>
                  <a:pt x="343" y="548"/>
                </a:lnTo>
                <a:lnTo>
                  <a:pt x="338" y="560"/>
                </a:lnTo>
                <a:lnTo>
                  <a:pt x="333" y="572"/>
                </a:lnTo>
                <a:lnTo>
                  <a:pt x="326" y="583"/>
                </a:lnTo>
                <a:lnTo>
                  <a:pt x="317" y="593"/>
                </a:lnTo>
                <a:lnTo>
                  <a:pt x="309" y="603"/>
                </a:lnTo>
                <a:lnTo>
                  <a:pt x="300" y="612"/>
                </a:lnTo>
                <a:lnTo>
                  <a:pt x="290" y="619"/>
                </a:lnTo>
                <a:lnTo>
                  <a:pt x="280" y="626"/>
                </a:lnTo>
                <a:lnTo>
                  <a:pt x="268" y="631"/>
                </a:lnTo>
                <a:lnTo>
                  <a:pt x="256" y="636"/>
                </a:lnTo>
                <a:lnTo>
                  <a:pt x="242" y="639"/>
                </a:lnTo>
                <a:lnTo>
                  <a:pt x="230" y="641"/>
                </a:lnTo>
                <a:lnTo>
                  <a:pt x="216" y="641"/>
                </a:lnTo>
                <a:lnTo>
                  <a:pt x="216" y="641"/>
                </a:lnTo>
                <a:lnTo>
                  <a:pt x="203" y="641"/>
                </a:lnTo>
                <a:lnTo>
                  <a:pt x="189" y="639"/>
                </a:lnTo>
                <a:lnTo>
                  <a:pt x="177" y="636"/>
                </a:lnTo>
                <a:lnTo>
                  <a:pt x="163" y="631"/>
                </a:lnTo>
                <a:lnTo>
                  <a:pt x="153" y="626"/>
                </a:lnTo>
                <a:lnTo>
                  <a:pt x="141" y="619"/>
                </a:lnTo>
                <a:lnTo>
                  <a:pt x="131" y="612"/>
                </a:lnTo>
                <a:lnTo>
                  <a:pt x="122" y="603"/>
                </a:lnTo>
                <a:lnTo>
                  <a:pt x="113" y="593"/>
                </a:lnTo>
                <a:lnTo>
                  <a:pt x="105" y="583"/>
                </a:lnTo>
                <a:lnTo>
                  <a:pt x="100" y="572"/>
                </a:lnTo>
                <a:lnTo>
                  <a:pt x="93" y="560"/>
                </a:lnTo>
                <a:lnTo>
                  <a:pt x="90" y="548"/>
                </a:lnTo>
                <a:lnTo>
                  <a:pt x="86" y="535"/>
                </a:lnTo>
                <a:lnTo>
                  <a:pt x="84" y="523"/>
                </a:lnTo>
                <a:lnTo>
                  <a:pt x="83" y="509"/>
                </a:lnTo>
                <a:lnTo>
                  <a:pt x="83" y="509"/>
                </a:lnTo>
                <a:lnTo>
                  <a:pt x="84" y="495"/>
                </a:lnTo>
                <a:lnTo>
                  <a:pt x="86" y="482"/>
                </a:lnTo>
                <a:lnTo>
                  <a:pt x="90" y="470"/>
                </a:lnTo>
                <a:lnTo>
                  <a:pt x="93" y="458"/>
                </a:lnTo>
                <a:lnTo>
                  <a:pt x="100" y="446"/>
                </a:lnTo>
                <a:lnTo>
                  <a:pt x="105" y="435"/>
                </a:lnTo>
                <a:lnTo>
                  <a:pt x="113" y="425"/>
                </a:lnTo>
                <a:lnTo>
                  <a:pt x="122" y="415"/>
                </a:lnTo>
                <a:lnTo>
                  <a:pt x="131" y="406"/>
                </a:lnTo>
                <a:lnTo>
                  <a:pt x="141" y="399"/>
                </a:lnTo>
                <a:lnTo>
                  <a:pt x="153" y="392"/>
                </a:lnTo>
                <a:lnTo>
                  <a:pt x="163" y="386"/>
                </a:lnTo>
                <a:lnTo>
                  <a:pt x="177" y="382"/>
                </a:lnTo>
                <a:lnTo>
                  <a:pt x="189" y="379"/>
                </a:lnTo>
                <a:lnTo>
                  <a:pt x="203" y="377"/>
                </a:lnTo>
                <a:lnTo>
                  <a:pt x="216" y="375"/>
                </a:lnTo>
                <a:lnTo>
                  <a:pt x="216" y="375"/>
                </a:lnTo>
                <a:close/>
                <a:moveTo>
                  <a:pt x="424" y="1078"/>
                </a:moveTo>
                <a:lnTo>
                  <a:pt x="424" y="1078"/>
                </a:lnTo>
                <a:lnTo>
                  <a:pt x="417" y="1088"/>
                </a:lnTo>
                <a:lnTo>
                  <a:pt x="408" y="1093"/>
                </a:lnTo>
                <a:lnTo>
                  <a:pt x="398" y="1099"/>
                </a:lnTo>
                <a:lnTo>
                  <a:pt x="386" y="1100"/>
                </a:lnTo>
                <a:lnTo>
                  <a:pt x="324" y="1100"/>
                </a:lnTo>
                <a:lnTo>
                  <a:pt x="324" y="1303"/>
                </a:lnTo>
                <a:lnTo>
                  <a:pt x="324" y="1303"/>
                </a:lnTo>
                <a:lnTo>
                  <a:pt x="322" y="1311"/>
                </a:lnTo>
                <a:lnTo>
                  <a:pt x="321" y="1320"/>
                </a:lnTo>
                <a:lnTo>
                  <a:pt x="316" y="1327"/>
                </a:lnTo>
                <a:lnTo>
                  <a:pt x="311" y="1333"/>
                </a:lnTo>
                <a:lnTo>
                  <a:pt x="304" y="1339"/>
                </a:lnTo>
                <a:lnTo>
                  <a:pt x="297" y="1344"/>
                </a:lnTo>
                <a:lnTo>
                  <a:pt x="288" y="1345"/>
                </a:lnTo>
                <a:lnTo>
                  <a:pt x="280" y="1347"/>
                </a:lnTo>
                <a:lnTo>
                  <a:pt x="280" y="1347"/>
                </a:lnTo>
                <a:lnTo>
                  <a:pt x="269" y="1345"/>
                </a:lnTo>
                <a:lnTo>
                  <a:pt x="261" y="1344"/>
                </a:lnTo>
                <a:lnTo>
                  <a:pt x="254" y="1339"/>
                </a:lnTo>
                <a:lnTo>
                  <a:pt x="247" y="1333"/>
                </a:lnTo>
                <a:lnTo>
                  <a:pt x="242" y="1327"/>
                </a:lnTo>
                <a:lnTo>
                  <a:pt x="237" y="1320"/>
                </a:lnTo>
                <a:lnTo>
                  <a:pt x="235" y="1311"/>
                </a:lnTo>
                <a:lnTo>
                  <a:pt x="233" y="1303"/>
                </a:lnTo>
                <a:lnTo>
                  <a:pt x="233" y="1100"/>
                </a:lnTo>
                <a:lnTo>
                  <a:pt x="194" y="1100"/>
                </a:lnTo>
                <a:lnTo>
                  <a:pt x="194" y="1303"/>
                </a:lnTo>
                <a:lnTo>
                  <a:pt x="194" y="1303"/>
                </a:lnTo>
                <a:lnTo>
                  <a:pt x="192" y="1311"/>
                </a:lnTo>
                <a:lnTo>
                  <a:pt x="191" y="1320"/>
                </a:lnTo>
                <a:lnTo>
                  <a:pt x="185" y="1327"/>
                </a:lnTo>
                <a:lnTo>
                  <a:pt x="180" y="1333"/>
                </a:lnTo>
                <a:lnTo>
                  <a:pt x="173" y="1339"/>
                </a:lnTo>
                <a:lnTo>
                  <a:pt x="167" y="1344"/>
                </a:lnTo>
                <a:lnTo>
                  <a:pt x="158" y="1345"/>
                </a:lnTo>
                <a:lnTo>
                  <a:pt x="149" y="1347"/>
                </a:lnTo>
                <a:lnTo>
                  <a:pt x="149" y="1347"/>
                </a:lnTo>
                <a:lnTo>
                  <a:pt x="139" y="1345"/>
                </a:lnTo>
                <a:lnTo>
                  <a:pt x="131" y="1344"/>
                </a:lnTo>
                <a:lnTo>
                  <a:pt x="124" y="1339"/>
                </a:lnTo>
                <a:lnTo>
                  <a:pt x="117" y="1333"/>
                </a:lnTo>
                <a:lnTo>
                  <a:pt x="112" y="1327"/>
                </a:lnTo>
                <a:lnTo>
                  <a:pt x="108" y="1320"/>
                </a:lnTo>
                <a:lnTo>
                  <a:pt x="105" y="1311"/>
                </a:lnTo>
                <a:lnTo>
                  <a:pt x="103" y="1303"/>
                </a:lnTo>
                <a:lnTo>
                  <a:pt x="103" y="1100"/>
                </a:lnTo>
                <a:lnTo>
                  <a:pt x="45" y="1100"/>
                </a:lnTo>
                <a:lnTo>
                  <a:pt x="45" y="1100"/>
                </a:lnTo>
                <a:lnTo>
                  <a:pt x="35" y="1099"/>
                </a:lnTo>
                <a:lnTo>
                  <a:pt x="24" y="1093"/>
                </a:lnTo>
                <a:lnTo>
                  <a:pt x="14" y="1088"/>
                </a:lnTo>
                <a:lnTo>
                  <a:pt x="7" y="1078"/>
                </a:lnTo>
                <a:lnTo>
                  <a:pt x="7" y="1078"/>
                </a:lnTo>
                <a:lnTo>
                  <a:pt x="2" y="1068"/>
                </a:lnTo>
                <a:lnTo>
                  <a:pt x="0" y="1057"/>
                </a:lnTo>
                <a:lnTo>
                  <a:pt x="2" y="1045"/>
                </a:lnTo>
                <a:lnTo>
                  <a:pt x="6" y="1035"/>
                </a:lnTo>
                <a:lnTo>
                  <a:pt x="173" y="698"/>
                </a:lnTo>
                <a:lnTo>
                  <a:pt x="173" y="698"/>
                </a:lnTo>
                <a:lnTo>
                  <a:pt x="180" y="687"/>
                </a:lnTo>
                <a:lnTo>
                  <a:pt x="191" y="679"/>
                </a:lnTo>
                <a:lnTo>
                  <a:pt x="203" y="674"/>
                </a:lnTo>
                <a:lnTo>
                  <a:pt x="216" y="672"/>
                </a:lnTo>
                <a:lnTo>
                  <a:pt x="216" y="672"/>
                </a:lnTo>
                <a:lnTo>
                  <a:pt x="228" y="674"/>
                </a:lnTo>
                <a:lnTo>
                  <a:pt x="240" y="679"/>
                </a:lnTo>
                <a:lnTo>
                  <a:pt x="251" y="687"/>
                </a:lnTo>
                <a:lnTo>
                  <a:pt x="257" y="698"/>
                </a:lnTo>
                <a:lnTo>
                  <a:pt x="425" y="1035"/>
                </a:lnTo>
                <a:lnTo>
                  <a:pt x="425" y="1035"/>
                </a:lnTo>
                <a:lnTo>
                  <a:pt x="430" y="1045"/>
                </a:lnTo>
                <a:lnTo>
                  <a:pt x="430" y="1057"/>
                </a:lnTo>
                <a:lnTo>
                  <a:pt x="429" y="1068"/>
                </a:lnTo>
                <a:lnTo>
                  <a:pt x="424" y="1078"/>
                </a:lnTo>
                <a:lnTo>
                  <a:pt x="424" y="1078"/>
                </a:lnTo>
                <a:close/>
                <a:moveTo>
                  <a:pt x="999" y="859"/>
                </a:moveTo>
                <a:lnTo>
                  <a:pt x="999" y="859"/>
                </a:lnTo>
                <a:lnTo>
                  <a:pt x="997" y="867"/>
                </a:lnTo>
                <a:lnTo>
                  <a:pt x="996" y="876"/>
                </a:lnTo>
                <a:lnTo>
                  <a:pt x="991" y="884"/>
                </a:lnTo>
                <a:lnTo>
                  <a:pt x="985" y="891"/>
                </a:lnTo>
                <a:lnTo>
                  <a:pt x="985" y="891"/>
                </a:lnTo>
                <a:lnTo>
                  <a:pt x="979" y="898"/>
                </a:lnTo>
                <a:lnTo>
                  <a:pt x="970" y="901"/>
                </a:lnTo>
                <a:lnTo>
                  <a:pt x="961" y="905"/>
                </a:lnTo>
                <a:lnTo>
                  <a:pt x="951" y="907"/>
                </a:lnTo>
                <a:lnTo>
                  <a:pt x="895" y="907"/>
                </a:lnTo>
                <a:lnTo>
                  <a:pt x="895" y="1299"/>
                </a:lnTo>
                <a:lnTo>
                  <a:pt x="895" y="1299"/>
                </a:lnTo>
                <a:lnTo>
                  <a:pt x="895" y="1309"/>
                </a:lnTo>
                <a:lnTo>
                  <a:pt x="891" y="1318"/>
                </a:lnTo>
                <a:lnTo>
                  <a:pt x="888" y="1327"/>
                </a:lnTo>
                <a:lnTo>
                  <a:pt x="881" y="1333"/>
                </a:lnTo>
                <a:lnTo>
                  <a:pt x="874" y="1339"/>
                </a:lnTo>
                <a:lnTo>
                  <a:pt x="866" y="1344"/>
                </a:lnTo>
                <a:lnTo>
                  <a:pt x="857" y="1345"/>
                </a:lnTo>
                <a:lnTo>
                  <a:pt x="848" y="1347"/>
                </a:lnTo>
                <a:lnTo>
                  <a:pt x="848" y="1347"/>
                </a:lnTo>
                <a:lnTo>
                  <a:pt x="838" y="1345"/>
                </a:lnTo>
                <a:lnTo>
                  <a:pt x="830" y="1344"/>
                </a:lnTo>
                <a:lnTo>
                  <a:pt x="821" y="1339"/>
                </a:lnTo>
                <a:lnTo>
                  <a:pt x="814" y="1333"/>
                </a:lnTo>
                <a:lnTo>
                  <a:pt x="807" y="1327"/>
                </a:lnTo>
                <a:lnTo>
                  <a:pt x="804" y="1318"/>
                </a:lnTo>
                <a:lnTo>
                  <a:pt x="800" y="1309"/>
                </a:lnTo>
                <a:lnTo>
                  <a:pt x="800" y="1299"/>
                </a:lnTo>
                <a:lnTo>
                  <a:pt x="800" y="907"/>
                </a:lnTo>
                <a:lnTo>
                  <a:pt x="739" y="907"/>
                </a:lnTo>
                <a:lnTo>
                  <a:pt x="739" y="1299"/>
                </a:lnTo>
                <a:lnTo>
                  <a:pt x="739" y="1299"/>
                </a:lnTo>
                <a:lnTo>
                  <a:pt x="739" y="1309"/>
                </a:lnTo>
                <a:lnTo>
                  <a:pt x="735" y="1318"/>
                </a:lnTo>
                <a:lnTo>
                  <a:pt x="730" y="1327"/>
                </a:lnTo>
                <a:lnTo>
                  <a:pt x="725" y="1333"/>
                </a:lnTo>
                <a:lnTo>
                  <a:pt x="718" y="1339"/>
                </a:lnTo>
                <a:lnTo>
                  <a:pt x="710" y="1344"/>
                </a:lnTo>
                <a:lnTo>
                  <a:pt x="701" y="1345"/>
                </a:lnTo>
                <a:lnTo>
                  <a:pt x="691" y="1347"/>
                </a:lnTo>
                <a:lnTo>
                  <a:pt x="691" y="1347"/>
                </a:lnTo>
                <a:lnTo>
                  <a:pt x="682" y="1345"/>
                </a:lnTo>
                <a:lnTo>
                  <a:pt x="674" y="1344"/>
                </a:lnTo>
                <a:lnTo>
                  <a:pt x="665" y="1339"/>
                </a:lnTo>
                <a:lnTo>
                  <a:pt x="658" y="1333"/>
                </a:lnTo>
                <a:lnTo>
                  <a:pt x="651" y="1327"/>
                </a:lnTo>
                <a:lnTo>
                  <a:pt x="648" y="1318"/>
                </a:lnTo>
                <a:lnTo>
                  <a:pt x="645" y="1309"/>
                </a:lnTo>
                <a:lnTo>
                  <a:pt x="645" y="1299"/>
                </a:lnTo>
                <a:lnTo>
                  <a:pt x="645" y="907"/>
                </a:lnTo>
                <a:lnTo>
                  <a:pt x="579" y="907"/>
                </a:lnTo>
                <a:lnTo>
                  <a:pt x="579" y="907"/>
                </a:lnTo>
                <a:lnTo>
                  <a:pt x="571" y="905"/>
                </a:lnTo>
                <a:lnTo>
                  <a:pt x="561" y="901"/>
                </a:lnTo>
                <a:lnTo>
                  <a:pt x="554" y="898"/>
                </a:lnTo>
                <a:lnTo>
                  <a:pt x="545" y="891"/>
                </a:lnTo>
                <a:lnTo>
                  <a:pt x="545" y="891"/>
                </a:lnTo>
                <a:lnTo>
                  <a:pt x="540" y="884"/>
                </a:lnTo>
                <a:lnTo>
                  <a:pt x="535" y="876"/>
                </a:lnTo>
                <a:lnTo>
                  <a:pt x="533" y="867"/>
                </a:lnTo>
                <a:lnTo>
                  <a:pt x="531" y="859"/>
                </a:lnTo>
                <a:lnTo>
                  <a:pt x="531" y="487"/>
                </a:lnTo>
                <a:lnTo>
                  <a:pt x="531" y="487"/>
                </a:lnTo>
                <a:lnTo>
                  <a:pt x="533" y="476"/>
                </a:lnTo>
                <a:lnTo>
                  <a:pt x="535" y="468"/>
                </a:lnTo>
                <a:lnTo>
                  <a:pt x="540" y="459"/>
                </a:lnTo>
                <a:lnTo>
                  <a:pt x="545" y="452"/>
                </a:lnTo>
                <a:lnTo>
                  <a:pt x="545" y="452"/>
                </a:lnTo>
                <a:lnTo>
                  <a:pt x="554" y="447"/>
                </a:lnTo>
                <a:lnTo>
                  <a:pt x="561" y="442"/>
                </a:lnTo>
                <a:lnTo>
                  <a:pt x="571" y="439"/>
                </a:lnTo>
                <a:lnTo>
                  <a:pt x="579" y="439"/>
                </a:lnTo>
                <a:lnTo>
                  <a:pt x="951" y="439"/>
                </a:lnTo>
                <a:lnTo>
                  <a:pt x="951" y="439"/>
                </a:lnTo>
                <a:lnTo>
                  <a:pt x="961" y="439"/>
                </a:lnTo>
                <a:lnTo>
                  <a:pt x="970" y="442"/>
                </a:lnTo>
                <a:lnTo>
                  <a:pt x="979" y="447"/>
                </a:lnTo>
                <a:lnTo>
                  <a:pt x="985" y="452"/>
                </a:lnTo>
                <a:lnTo>
                  <a:pt x="985" y="452"/>
                </a:lnTo>
                <a:lnTo>
                  <a:pt x="991" y="459"/>
                </a:lnTo>
                <a:lnTo>
                  <a:pt x="996" y="468"/>
                </a:lnTo>
                <a:lnTo>
                  <a:pt x="997" y="476"/>
                </a:lnTo>
                <a:lnTo>
                  <a:pt x="999" y="487"/>
                </a:lnTo>
                <a:lnTo>
                  <a:pt x="999" y="859"/>
                </a:lnTo>
                <a:close/>
                <a:moveTo>
                  <a:pt x="1950" y="375"/>
                </a:moveTo>
                <a:lnTo>
                  <a:pt x="1950" y="375"/>
                </a:lnTo>
                <a:lnTo>
                  <a:pt x="1964" y="377"/>
                </a:lnTo>
                <a:lnTo>
                  <a:pt x="1977" y="379"/>
                </a:lnTo>
                <a:lnTo>
                  <a:pt x="1989" y="382"/>
                </a:lnTo>
                <a:lnTo>
                  <a:pt x="2003" y="386"/>
                </a:lnTo>
                <a:lnTo>
                  <a:pt x="2013" y="392"/>
                </a:lnTo>
                <a:lnTo>
                  <a:pt x="2025" y="399"/>
                </a:lnTo>
                <a:lnTo>
                  <a:pt x="2036" y="406"/>
                </a:lnTo>
                <a:lnTo>
                  <a:pt x="2044" y="415"/>
                </a:lnTo>
                <a:lnTo>
                  <a:pt x="2053" y="425"/>
                </a:lnTo>
                <a:lnTo>
                  <a:pt x="2061" y="435"/>
                </a:lnTo>
                <a:lnTo>
                  <a:pt x="2066" y="446"/>
                </a:lnTo>
                <a:lnTo>
                  <a:pt x="2073" y="458"/>
                </a:lnTo>
                <a:lnTo>
                  <a:pt x="2077" y="470"/>
                </a:lnTo>
                <a:lnTo>
                  <a:pt x="2080" y="482"/>
                </a:lnTo>
                <a:lnTo>
                  <a:pt x="2082" y="495"/>
                </a:lnTo>
                <a:lnTo>
                  <a:pt x="2084" y="509"/>
                </a:lnTo>
                <a:lnTo>
                  <a:pt x="2084" y="509"/>
                </a:lnTo>
                <a:lnTo>
                  <a:pt x="2082" y="523"/>
                </a:lnTo>
                <a:lnTo>
                  <a:pt x="2080" y="535"/>
                </a:lnTo>
                <a:lnTo>
                  <a:pt x="2077" y="548"/>
                </a:lnTo>
                <a:lnTo>
                  <a:pt x="2073" y="560"/>
                </a:lnTo>
                <a:lnTo>
                  <a:pt x="2066" y="572"/>
                </a:lnTo>
                <a:lnTo>
                  <a:pt x="2061" y="583"/>
                </a:lnTo>
                <a:lnTo>
                  <a:pt x="2053" y="593"/>
                </a:lnTo>
                <a:lnTo>
                  <a:pt x="2044" y="603"/>
                </a:lnTo>
                <a:lnTo>
                  <a:pt x="2036" y="612"/>
                </a:lnTo>
                <a:lnTo>
                  <a:pt x="2025" y="619"/>
                </a:lnTo>
                <a:lnTo>
                  <a:pt x="2013" y="626"/>
                </a:lnTo>
                <a:lnTo>
                  <a:pt x="2003" y="631"/>
                </a:lnTo>
                <a:lnTo>
                  <a:pt x="1989" y="636"/>
                </a:lnTo>
                <a:lnTo>
                  <a:pt x="1977" y="639"/>
                </a:lnTo>
                <a:lnTo>
                  <a:pt x="1964" y="641"/>
                </a:lnTo>
                <a:lnTo>
                  <a:pt x="1950" y="641"/>
                </a:lnTo>
                <a:lnTo>
                  <a:pt x="1950" y="641"/>
                </a:lnTo>
                <a:lnTo>
                  <a:pt x="1936" y="641"/>
                </a:lnTo>
                <a:lnTo>
                  <a:pt x="1924" y="639"/>
                </a:lnTo>
                <a:lnTo>
                  <a:pt x="1911" y="636"/>
                </a:lnTo>
                <a:lnTo>
                  <a:pt x="1899" y="631"/>
                </a:lnTo>
                <a:lnTo>
                  <a:pt x="1887" y="626"/>
                </a:lnTo>
                <a:lnTo>
                  <a:pt x="1876" y="619"/>
                </a:lnTo>
                <a:lnTo>
                  <a:pt x="1866" y="612"/>
                </a:lnTo>
                <a:lnTo>
                  <a:pt x="1857" y="603"/>
                </a:lnTo>
                <a:lnTo>
                  <a:pt x="1849" y="593"/>
                </a:lnTo>
                <a:lnTo>
                  <a:pt x="1840" y="583"/>
                </a:lnTo>
                <a:lnTo>
                  <a:pt x="1833" y="572"/>
                </a:lnTo>
                <a:lnTo>
                  <a:pt x="1828" y="560"/>
                </a:lnTo>
                <a:lnTo>
                  <a:pt x="1823" y="548"/>
                </a:lnTo>
                <a:lnTo>
                  <a:pt x="1820" y="535"/>
                </a:lnTo>
                <a:lnTo>
                  <a:pt x="1818" y="523"/>
                </a:lnTo>
                <a:lnTo>
                  <a:pt x="1818" y="509"/>
                </a:lnTo>
                <a:lnTo>
                  <a:pt x="1818" y="509"/>
                </a:lnTo>
                <a:lnTo>
                  <a:pt x="1818" y="495"/>
                </a:lnTo>
                <a:lnTo>
                  <a:pt x="1820" y="482"/>
                </a:lnTo>
                <a:lnTo>
                  <a:pt x="1823" y="470"/>
                </a:lnTo>
                <a:lnTo>
                  <a:pt x="1828" y="458"/>
                </a:lnTo>
                <a:lnTo>
                  <a:pt x="1833" y="446"/>
                </a:lnTo>
                <a:lnTo>
                  <a:pt x="1840" y="435"/>
                </a:lnTo>
                <a:lnTo>
                  <a:pt x="1849" y="425"/>
                </a:lnTo>
                <a:lnTo>
                  <a:pt x="1857" y="415"/>
                </a:lnTo>
                <a:lnTo>
                  <a:pt x="1866" y="406"/>
                </a:lnTo>
                <a:lnTo>
                  <a:pt x="1876" y="399"/>
                </a:lnTo>
                <a:lnTo>
                  <a:pt x="1887" y="392"/>
                </a:lnTo>
                <a:lnTo>
                  <a:pt x="1899" y="386"/>
                </a:lnTo>
                <a:lnTo>
                  <a:pt x="1911" y="382"/>
                </a:lnTo>
                <a:lnTo>
                  <a:pt x="1924" y="379"/>
                </a:lnTo>
                <a:lnTo>
                  <a:pt x="1936" y="377"/>
                </a:lnTo>
                <a:lnTo>
                  <a:pt x="1950" y="375"/>
                </a:lnTo>
                <a:lnTo>
                  <a:pt x="1950" y="375"/>
                </a:lnTo>
                <a:close/>
                <a:moveTo>
                  <a:pt x="1393" y="0"/>
                </a:moveTo>
                <a:lnTo>
                  <a:pt x="1393" y="0"/>
                </a:lnTo>
                <a:lnTo>
                  <a:pt x="1412" y="2"/>
                </a:lnTo>
                <a:lnTo>
                  <a:pt x="1431" y="5"/>
                </a:lnTo>
                <a:lnTo>
                  <a:pt x="1450" y="9"/>
                </a:lnTo>
                <a:lnTo>
                  <a:pt x="1467" y="15"/>
                </a:lnTo>
                <a:lnTo>
                  <a:pt x="1482" y="22"/>
                </a:lnTo>
                <a:lnTo>
                  <a:pt x="1498" y="33"/>
                </a:lnTo>
                <a:lnTo>
                  <a:pt x="1511" y="43"/>
                </a:lnTo>
                <a:lnTo>
                  <a:pt x="1525" y="55"/>
                </a:lnTo>
                <a:lnTo>
                  <a:pt x="1537" y="69"/>
                </a:lnTo>
                <a:lnTo>
                  <a:pt x="1547" y="82"/>
                </a:lnTo>
                <a:lnTo>
                  <a:pt x="1558" y="98"/>
                </a:lnTo>
                <a:lnTo>
                  <a:pt x="1565" y="115"/>
                </a:lnTo>
                <a:lnTo>
                  <a:pt x="1571" y="132"/>
                </a:lnTo>
                <a:lnTo>
                  <a:pt x="1577" y="149"/>
                </a:lnTo>
                <a:lnTo>
                  <a:pt x="1578" y="168"/>
                </a:lnTo>
                <a:lnTo>
                  <a:pt x="1580" y="187"/>
                </a:lnTo>
                <a:lnTo>
                  <a:pt x="1580" y="187"/>
                </a:lnTo>
                <a:lnTo>
                  <a:pt x="1578" y="206"/>
                </a:lnTo>
                <a:lnTo>
                  <a:pt x="1577" y="224"/>
                </a:lnTo>
                <a:lnTo>
                  <a:pt x="1571" y="242"/>
                </a:lnTo>
                <a:lnTo>
                  <a:pt x="1565" y="259"/>
                </a:lnTo>
                <a:lnTo>
                  <a:pt x="1558" y="276"/>
                </a:lnTo>
                <a:lnTo>
                  <a:pt x="1547" y="291"/>
                </a:lnTo>
                <a:lnTo>
                  <a:pt x="1537" y="305"/>
                </a:lnTo>
                <a:lnTo>
                  <a:pt x="1525" y="319"/>
                </a:lnTo>
                <a:lnTo>
                  <a:pt x="1511" y="331"/>
                </a:lnTo>
                <a:lnTo>
                  <a:pt x="1498" y="341"/>
                </a:lnTo>
                <a:lnTo>
                  <a:pt x="1482" y="350"/>
                </a:lnTo>
                <a:lnTo>
                  <a:pt x="1467" y="358"/>
                </a:lnTo>
                <a:lnTo>
                  <a:pt x="1450" y="365"/>
                </a:lnTo>
                <a:lnTo>
                  <a:pt x="1431" y="368"/>
                </a:lnTo>
                <a:lnTo>
                  <a:pt x="1412" y="372"/>
                </a:lnTo>
                <a:lnTo>
                  <a:pt x="1393" y="372"/>
                </a:lnTo>
                <a:lnTo>
                  <a:pt x="1393" y="372"/>
                </a:lnTo>
                <a:lnTo>
                  <a:pt x="1374" y="372"/>
                </a:lnTo>
                <a:lnTo>
                  <a:pt x="1356" y="368"/>
                </a:lnTo>
                <a:lnTo>
                  <a:pt x="1338" y="365"/>
                </a:lnTo>
                <a:lnTo>
                  <a:pt x="1321" y="358"/>
                </a:lnTo>
                <a:lnTo>
                  <a:pt x="1306" y="350"/>
                </a:lnTo>
                <a:lnTo>
                  <a:pt x="1290" y="341"/>
                </a:lnTo>
                <a:lnTo>
                  <a:pt x="1275" y="331"/>
                </a:lnTo>
                <a:lnTo>
                  <a:pt x="1263" y="319"/>
                </a:lnTo>
                <a:lnTo>
                  <a:pt x="1251" y="305"/>
                </a:lnTo>
                <a:lnTo>
                  <a:pt x="1239" y="291"/>
                </a:lnTo>
                <a:lnTo>
                  <a:pt x="1230" y="276"/>
                </a:lnTo>
                <a:lnTo>
                  <a:pt x="1222" y="259"/>
                </a:lnTo>
                <a:lnTo>
                  <a:pt x="1217" y="242"/>
                </a:lnTo>
                <a:lnTo>
                  <a:pt x="1212" y="224"/>
                </a:lnTo>
                <a:lnTo>
                  <a:pt x="1208" y="206"/>
                </a:lnTo>
                <a:lnTo>
                  <a:pt x="1208" y="187"/>
                </a:lnTo>
                <a:lnTo>
                  <a:pt x="1208" y="187"/>
                </a:lnTo>
                <a:lnTo>
                  <a:pt x="1208" y="168"/>
                </a:lnTo>
                <a:lnTo>
                  <a:pt x="1212" y="149"/>
                </a:lnTo>
                <a:lnTo>
                  <a:pt x="1217" y="132"/>
                </a:lnTo>
                <a:lnTo>
                  <a:pt x="1222" y="115"/>
                </a:lnTo>
                <a:lnTo>
                  <a:pt x="1230" y="98"/>
                </a:lnTo>
                <a:lnTo>
                  <a:pt x="1239" y="82"/>
                </a:lnTo>
                <a:lnTo>
                  <a:pt x="1251" y="69"/>
                </a:lnTo>
                <a:lnTo>
                  <a:pt x="1263" y="55"/>
                </a:lnTo>
                <a:lnTo>
                  <a:pt x="1275" y="43"/>
                </a:lnTo>
                <a:lnTo>
                  <a:pt x="1290" y="33"/>
                </a:lnTo>
                <a:lnTo>
                  <a:pt x="1306" y="22"/>
                </a:lnTo>
                <a:lnTo>
                  <a:pt x="1321" y="15"/>
                </a:lnTo>
                <a:lnTo>
                  <a:pt x="1338" y="9"/>
                </a:lnTo>
                <a:lnTo>
                  <a:pt x="1356" y="5"/>
                </a:lnTo>
                <a:lnTo>
                  <a:pt x="1374" y="2"/>
                </a:lnTo>
                <a:lnTo>
                  <a:pt x="1393" y="0"/>
                </a:lnTo>
                <a:lnTo>
                  <a:pt x="1393" y="0"/>
                </a:lnTo>
                <a:close/>
                <a:moveTo>
                  <a:pt x="1672" y="977"/>
                </a:moveTo>
                <a:lnTo>
                  <a:pt x="1672" y="977"/>
                </a:lnTo>
                <a:lnTo>
                  <a:pt x="1666" y="987"/>
                </a:lnTo>
                <a:lnTo>
                  <a:pt x="1655" y="994"/>
                </a:lnTo>
                <a:lnTo>
                  <a:pt x="1643" y="997"/>
                </a:lnTo>
                <a:lnTo>
                  <a:pt x="1631" y="999"/>
                </a:lnTo>
                <a:lnTo>
                  <a:pt x="1523" y="999"/>
                </a:lnTo>
                <a:lnTo>
                  <a:pt x="1523" y="1299"/>
                </a:lnTo>
                <a:lnTo>
                  <a:pt x="1523" y="1299"/>
                </a:lnTo>
                <a:lnTo>
                  <a:pt x="1522" y="1309"/>
                </a:lnTo>
                <a:lnTo>
                  <a:pt x="1520" y="1318"/>
                </a:lnTo>
                <a:lnTo>
                  <a:pt x="1515" y="1327"/>
                </a:lnTo>
                <a:lnTo>
                  <a:pt x="1510" y="1333"/>
                </a:lnTo>
                <a:lnTo>
                  <a:pt x="1503" y="1339"/>
                </a:lnTo>
                <a:lnTo>
                  <a:pt x="1494" y="1344"/>
                </a:lnTo>
                <a:lnTo>
                  <a:pt x="1486" y="1345"/>
                </a:lnTo>
                <a:lnTo>
                  <a:pt x="1475" y="1347"/>
                </a:lnTo>
                <a:lnTo>
                  <a:pt x="1475" y="1347"/>
                </a:lnTo>
                <a:lnTo>
                  <a:pt x="1467" y="1345"/>
                </a:lnTo>
                <a:lnTo>
                  <a:pt x="1457" y="1344"/>
                </a:lnTo>
                <a:lnTo>
                  <a:pt x="1450" y="1339"/>
                </a:lnTo>
                <a:lnTo>
                  <a:pt x="1443" y="1333"/>
                </a:lnTo>
                <a:lnTo>
                  <a:pt x="1436" y="1327"/>
                </a:lnTo>
                <a:lnTo>
                  <a:pt x="1433" y="1318"/>
                </a:lnTo>
                <a:lnTo>
                  <a:pt x="1429" y="1309"/>
                </a:lnTo>
                <a:lnTo>
                  <a:pt x="1427" y="1299"/>
                </a:lnTo>
                <a:lnTo>
                  <a:pt x="1427" y="999"/>
                </a:lnTo>
                <a:lnTo>
                  <a:pt x="1368" y="999"/>
                </a:lnTo>
                <a:lnTo>
                  <a:pt x="1368" y="1299"/>
                </a:lnTo>
                <a:lnTo>
                  <a:pt x="1368" y="1299"/>
                </a:lnTo>
                <a:lnTo>
                  <a:pt x="1366" y="1309"/>
                </a:lnTo>
                <a:lnTo>
                  <a:pt x="1364" y="1318"/>
                </a:lnTo>
                <a:lnTo>
                  <a:pt x="1359" y="1327"/>
                </a:lnTo>
                <a:lnTo>
                  <a:pt x="1354" y="1333"/>
                </a:lnTo>
                <a:lnTo>
                  <a:pt x="1347" y="1339"/>
                </a:lnTo>
                <a:lnTo>
                  <a:pt x="1338" y="1344"/>
                </a:lnTo>
                <a:lnTo>
                  <a:pt x="1330" y="1345"/>
                </a:lnTo>
                <a:lnTo>
                  <a:pt x="1320" y="1347"/>
                </a:lnTo>
                <a:lnTo>
                  <a:pt x="1320" y="1347"/>
                </a:lnTo>
                <a:lnTo>
                  <a:pt x="1309" y="1345"/>
                </a:lnTo>
                <a:lnTo>
                  <a:pt x="1301" y="1344"/>
                </a:lnTo>
                <a:lnTo>
                  <a:pt x="1294" y="1339"/>
                </a:lnTo>
                <a:lnTo>
                  <a:pt x="1285" y="1333"/>
                </a:lnTo>
                <a:lnTo>
                  <a:pt x="1280" y="1327"/>
                </a:lnTo>
                <a:lnTo>
                  <a:pt x="1275" y="1318"/>
                </a:lnTo>
                <a:lnTo>
                  <a:pt x="1273" y="1309"/>
                </a:lnTo>
                <a:lnTo>
                  <a:pt x="1272" y="1299"/>
                </a:lnTo>
                <a:lnTo>
                  <a:pt x="1272" y="999"/>
                </a:lnTo>
                <a:lnTo>
                  <a:pt x="1155" y="999"/>
                </a:lnTo>
                <a:lnTo>
                  <a:pt x="1155" y="999"/>
                </a:lnTo>
                <a:lnTo>
                  <a:pt x="1143" y="997"/>
                </a:lnTo>
                <a:lnTo>
                  <a:pt x="1133" y="994"/>
                </a:lnTo>
                <a:lnTo>
                  <a:pt x="1123" y="987"/>
                </a:lnTo>
                <a:lnTo>
                  <a:pt x="1116" y="977"/>
                </a:lnTo>
                <a:lnTo>
                  <a:pt x="1116" y="977"/>
                </a:lnTo>
                <a:lnTo>
                  <a:pt x="1111" y="967"/>
                </a:lnTo>
                <a:lnTo>
                  <a:pt x="1107" y="955"/>
                </a:lnTo>
                <a:lnTo>
                  <a:pt x="1109" y="943"/>
                </a:lnTo>
                <a:lnTo>
                  <a:pt x="1112" y="931"/>
                </a:lnTo>
                <a:lnTo>
                  <a:pt x="1350" y="451"/>
                </a:lnTo>
                <a:lnTo>
                  <a:pt x="1350" y="451"/>
                </a:lnTo>
                <a:lnTo>
                  <a:pt x="1359" y="440"/>
                </a:lnTo>
                <a:lnTo>
                  <a:pt x="1369" y="432"/>
                </a:lnTo>
                <a:lnTo>
                  <a:pt x="1381" y="427"/>
                </a:lnTo>
                <a:lnTo>
                  <a:pt x="1393" y="425"/>
                </a:lnTo>
                <a:lnTo>
                  <a:pt x="1393" y="425"/>
                </a:lnTo>
                <a:lnTo>
                  <a:pt x="1407" y="427"/>
                </a:lnTo>
                <a:lnTo>
                  <a:pt x="1419" y="432"/>
                </a:lnTo>
                <a:lnTo>
                  <a:pt x="1429" y="440"/>
                </a:lnTo>
                <a:lnTo>
                  <a:pt x="1436" y="451"/>
                </a:lnTo>
                <a:lnTo>
                  <a:pt x="1674" y="931"/>
                </a:lnTo>
                <a:lnTo>
                  <a:pt x="1674" y="931"/>
                </a:lnTo>
                <a:lnTo>
                  <a:pt x="1679" y="943"/>
                </a:lnTo>
                <a:lnTo>
                  <a:pt x="1679" y="955"/>
                </a:lnTo>
                <a:lnTo>
                  <a:pt x="1678" y="967"/>
                </a:lnTo>
                <a:lnTo>
                  <a:pt x="1672" y="977"/>
                </a:lnTo>
                <a:lnTo>
                  <a:pt x="1672" y="977"/>
                </a:lnTo>
                <a:close/>
                <a:moveTo>
                  <a:pt x="2128" y="989"/>
                </a:moveTo>
                <a:lnTo>
                  <a:pt x="2128" y="989"/>
                </a:lnTo>
                <a:lnTo>
                  <a:pt x="2128" y="997"/>
                </a:lnTo>
                <a:lnTo>
                  <a:pt x="2125" y="1006"/>
                </a:lnTo>
                <a:lnTo>
                  <a:pt x="2121" y="1013"/>
                </a:lnTo>
                <a:lnTo>
                  <a:pt x="2114" y="1020"/>
                </a:lnTo>
                <a:lnTo>
                  <a:pt x="2114" y="1020"/>
                </a:lnTo>
                <a:lnTo>
                  <a:pt x="2108" y="1025"/>
                </a:lnTo>
                <a:lnTo>
                  <a:pt x="2101" y="1030"/>
                </a:lnTo>
                <a:lnTo>
                  <a:pt x="2092" y="1032"/>
                </a:lnTo>
                <a:lnTo>
                  <a:pt x="2084" y="1033"/>
                </a:lnTo>
                <a:lnTo>
                  <a:pt x="2061" y="1033"/>
                </a:lnTo>
                <a:lnTo>
                  <a:pt x="2061" y="1303"/>
                </a:lnTo>
                <a:lnTo>
                  <a:pt x="2061" y="1303"/>
                </a:lnTo>
                <a:lnTo>
                  <a:pt x="2060" y="1311"/>
                </a:lnTo>
                <a:lnTo>
                  <a:pt x="2058" y="1320"/>
                </a:lnTo>
                <a:lnTo>
                  <a:pt x="2053" y="1327"/>
                </a:lnTo>
                <a:lnTo>
                  <a:pt x="2048" y="1333"/>
                </a:lnTo>
                <a:lnTo>
                  <a:pt x="2041" y="1339"/>
                </a:lnTo>
                <a:lnTo>
                  <a:pt x="2034" y="1344"/>
                </a:lnTo>
                <a:lnTo>
                  <a:pt x="2025" y="1345"/>
                </a:lnTo>
                <a:lnTo>
                  <a:pt x="2017" y="1347"/>
                </a:lnTo>
                <a:lnTo>
                  <a:pt x="2017" y="1347"/>
                </a:lnTo>
                <a:lnTo>
                  <a:pt x="2007" y="1345"/>
                </a:lnTo>
                <a:lnTo>
                  <a:pt x="1998" y="1344"/>
                </a:lnTo>
                <a:lnTo>
                  <a:pt x="1991" y="1339"/>
                </a:lnTo>
                <a:lnTo>
                  <a:pt x="1984" y="1333"/>
                </a:lnTo>
                <a:lnTo>
                  <a:pt x="1979" y="1327"/>
                </a:lnTo>
                <a:lnTo>
                  <a:pt x="1976" y="1320"/>
                </a:lnTo>
                <a:lnTo>
                  <a:pt x="1972" y="1311"/>
                </a:lnTo>
                <a:lnTo>
                  <a:pt x="1971" y="1303"/>
                </a:lnTo>
                <a:lnTo>
                  <a:pt x="1971" y="1033"/>
                </a:lnTo>
                <a:lnTo>
                  <a:pt x="1931" y="1033"/>
                </a:lnTo>
                <a:lnTo>
                  <a:pt x="1931" y="1303"/>
                </a:lnTo>
                <a:lnTo>
                  <a:pt x="1931" y="1303"/>
                </a:lnTo>
                <a:lnTo>
                  <a:pt x="1931" y="1311"/>
                </a:lnTo>
                <a:lnTo>
                  <a:pt x="1928" y="1320"/>
                </a:lnTo>
                <a:lnTo>
                  <a:pt x="1924" y="1327"/>
                </a:lnTo>
                <a:lnTo>
                  <a:pt x="1917" y="1333"/>
                </a:lnTo>
                <a:lnTo>
                  <a:pt x="1911" y="1339"/>
                </a:lnTo>
                <a:lnTo>
                  <a:pt x="1904" y="1344"/>
                </a:lnTo>
                <a:lnTo>
                  <a:pt x="1895" y="1345"/>
                </a:lnTo>
                <a:lnTo>
                  <a:pt x="1887" y="1347"/>
                </a:lnTo>
                <a:lnTo>
                  <a:pt x="1887" y="1347"/>
                </a:lnTo>
                <a:lnTo>
                  <a:pt x="1878" y="1345"/>
                </a:lnTo>
                <a:lnTo>
                  <a:pt x="1869" y="1344"/>
                </a:lnTo>
                <a:lnTo>
                  <a:pt x="1861" y="1339"/>
                </a:lnTo>
                <a:lnTo>
                  <a:pt x="1854" y="1333"/>
                </a:lnTo>
                <a:lnTo>
                  <a:pt x="1849" y="1327"/>
                </a:lnTo>
                <a:lnTo>
                  <a:pt x="1845" y="1320"/>
                </a:lnTo>
                <a:lnTo>
                  <a:pt x="1842" y="1311"/>
                </a:lnTo>
                <a:lnTo>
                  <a:pt x="1842" y="1303"/>
                </a:lnTo>
                <a:lnTo>
                  <a:pt x="1842" y="1033"/>
                </a:lnTo>
                <a:lnTo>
                  <a:pt x="1818" y="1033"/>
                </a:lnTo>
                <a:lnTo>
                  <a:pt x="1818" y="1033"/>
                </a:lnTo>
                <a:lnTo>
                  <a:pt x="1809" y="1032"/>
                </a:lnTo>
                <a:lnTo>
                  <a:pt x="1801" y="1030"/>
                </a:lnTo>
                <a:lnTo>
                  <a:pt x="1792" y="1025"/>
                </a:lnTo>
                <a:lnTo>
                  <a:pt x="1786" y="1020"/>
                </a:lnTo>
                <a:lnTo>
                  <a:pt x="1786" y="1020"/>
                </a:lnTo>
                <a:lnTo>
                  <a:pt x="1780" y="1013"/>
                </a:lnTo>
                <a:lnTo>
                  <a:pt x="1777" y="1006"/>
                </a:lnTo>
                <a:lnTo>
                  <a:pt x="1774" y="997"/>
                </a:lnTo>
                <a:lnTo>
                  <a:pt x="1774" y="989"/>
                </a:lnTo>
                <a:lnTo>
                  <a:pt x="1774" y="723"/>
                </a:lnTo>
                <a:lnTo>
                  <a:pt x="1774" y="723"/>
                </a:lnTo>
                <a:lnTo>
                  <a:pt x="1774" y="713"/>
                </a:lnTo>
                <a:lnTo>
                  <a:pt x="1777" y="706"/>
                </a:lnTo>
                <a:lnTo>
                  <a:pt x="1780" y="698"/>
                </a:lnTo>
                <a:lnTo>
                  <a:pt x="1786" y="691"/>
                </a:lnTo>
                <a:lnTo>
                  <a:pt x="1786" y="691"/>
                </a:lnTo>
                <a:lnTo>
                  <a:pt x="1792" y="686"/>
                </a:lnTo>
                <a:lnTo>
                  <a:pt x="1801" y="680"/>
                </a:lnTo>
                <a:lnTo>
                  <a:pt x="1809" y="679"/>
                </a:lnTo>
                <a:lnTo>
                  <a:pt x="1818" y="677"/>
                </a:lnTo>
                <a:lnTo>
                  <a:pt x="2084" y="677"/>
                </a:lnTo>
                <a:lnTo>
                  <a:pt x="2084" y="677"/>
                </a:lnTo>
                <a:lnTo>
                  <a:pt x="2092" y="679"/>
                </a:lnTo>
                <a:lnTo>
                  <a:pt x="2101" y="680"/>
                </a:lnTo>
                <a:lnTo>
                  <a:pt x="2108" y="686"/>
                </a:lnTo>
                <a:lnTo>
                  <a:pt x="2114" y="691"/>
                </a:lnTo>
                <a:lnTo>
                  <a:pt x="2114" y="691"/>
                </a:lnTo>
                <a:lnTo>
                  <a:pt x="2121" y="698"/>
                </a:lnTo>
                <a:lnTo>
                  <a:pt x="2125" y="706"/>
                </a:lnTo>
                <a:lnTo>
                  <a:pt x="2128" y="713"/>
                </a:lnTo>
                <a:lnTo>
                  <a:pt x="2128" y="723"/>
                </a:lnTo>
                <a:lnTo>
                  <a:pt x="2128" y="98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50"/>
          <p:cNvSpPr>
            <a:spLocks noEditPoints="1"/>
          </p:cNvSpPr>
          <p:nvPr/>
        </p:nvSpPr>
        <p:spPr bwMode="auto">
          <a:xfrm>
            <a:off x="2839200" y="2234751"/>
            <a:ext cx="89989" cy="259554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51"/>
          <p:cNvSpPr>
            <a:spLocks noEditPoints="1"/>
          </p:cNvSpPr>
          <p:nvPr/>
        </p:nvSpPr>
        <p:spPr bwMode="auto">
          <a:xfrm>
            <a:off x="2956672" y="2235284"/>
            <a:ext cx="110017" cy="259020"/>
          </a:xfrm>
          <a:custGeom>
            <a:avLst/>
            <a:gdLst>
              <a:gd name="T0" fmla="*/ 438 w 824"/>
              <a:gd name="T1" fmla="*/ 2 h 1940"/>
              <a:gd name="T2" fmla="*/ 515 w 824"/>
              <a:gd name="T3" fmla="*/ 21 h 1940"/>
              <a:gd name="T4" fmla="*/ 582 w 824"/>
              <a:gd name="T5" fmla="*/ 62 h 1940"/>
              <a:gd name="T6" fmla="*/ 634 w 824"/>
              <a:gd name="T7" fmla="*/ 118 h 1940"/>
              <a:gd name="T8" fmla="*/ 668 w 824"/>
              <a:gd name="T9" fmla="*/ 189 h 1940"/>
              <a:gd name="T10" fmla="*/ 680 w 824"/>
              <a:gd name="T11" fmla="*/ 268 h 1940"/>
              <a:gd name="T12" fmla="*/ 675 w 824"/>
              <a:gd name="T13" fmla="*/ 322 h 1940"/>
              <a:gd name="T14" fmla="*/ 647 w 824"/>
              <a:gd name="T15" fmla="*/ 396 h 1940"/>
              <a:gd name="T16" fmla="*/ 601 w 824"/>
              <a:gd name="T17" fmla="*/ 458 h 1940"/>
              <a:gd name="T18" fmla="*/ 539 w 824"/>
              <a:gd name="T19" fmla="*/ 504 h 1940"/>
              <a:gd name="T20" fmla="*/ 466 w 824"/>
              <a:gd name="T21" fmla="*/ 531 h 1940"/>
              <a:gd name="T22" fmla="*/ 411 w 824"/>
              <a:gd name="T23" fmla="*/ 537 h 1940"/>
              <a:gd name="T24" fmla="*/ 332 w 824"/>
              <a:gd name="T25" fmla="*/ 525 h 1940"/>
              <a:gd name="T26" fmla="*/ 262 w 824"/>
              <a:gd name="T27" fmla="*/ 490 h 1940"/>
              <a:gd name="T28" fmla="*/ 205 w 824"/>
              <a:gd name="T29" fmla="*/ 439 h 1940"/>
              <a:gd name="T30" fmla="*/ 164 w 824"/>
              <a:gd name="T31" fmla="*/ 372 h 1940"/>
              <a:gd name="T32" fmla="*/ 145 w 824"/>
              <a:gd name="T33" fmla="*/ 295 h 1940"/>
              <a:gd name="T34" fmla="*/ 145 w 824"/>
              <a:gd name="T35" fmla="*/ 240 h 1940"/>
              <a:gd name="T36" fmla="*/ 164 w 824"/>
              <a:gd name="T37" fmla="*/ 163 h 1940"/>
              <a:gd name="T38" fmla="*/ 205 w 824"/>
              <a:gd name="T39" fmla="*/ 98 h 1940"/>
              <a:gd name="T40" fmla="*/ 262 w 824"/>
              <a:gd name="T41" fmla="*/ 46 h 1940"/>
              <a:gd name="T42" fmla="*/ 332 w 824"/>
              <a:gd name="T43" fmla="*/ 12 h 1940"/>
              <a:gd name="T44" fmla="*/ 411 w 824"/>
              <a:gd name="T45" fmla="*/ 0 h 1940"/>
              <a:gd name="T46" fmla="*/ 814 w 824"/>
              <a:gd name="T47" fmla="*/ 1407 h 1940"/>
              <a:gd name="T48" fmla="*/ 796 w 824"/>
              <a:gd name="T49" fmla="*/ 1426 h 1940"/>
              <a:gd name="T50" fmla="*/ 772 w 824"/>
              <a:gd name="T51" fmla="*/ 1438 h 1940"/>
              <a:gd name="T52" fmla="*/ 598 w 824"/>
              <a:gd name="T53" fmla="*/ 1440 h 1940"/>
              <a:gd name="T54" fmla="*/ 598 w 824"/>
              <a:gd name="T55" fmla="*/ 1885 h 1940"/>
              <a:gd name="T56" fmla="*/ 579 w 824"/>
              <a:gd name="T57" fmla="*/ 1920 h 1940"/>
              <a:gd name="T58" fmla="*/ 543 w 824"/>
              <a:gd name="T59" fmla="*/ 1939 h 1940"/>
              <a:gd name="T60" fmla="*/ 515 w 824"/>
              <a:gd name="T61" fmla="*/ 1939 h 1940"/>
              <a:gd name="T62" fmla="*/ 481 w 824"/>
              <a:gd name="T63" fmla="*/ 1920 h 1940"/>
              <a:gd name="T64" fmla="*/ 462 w 824"/>
              <a:gd name="T65" fmla="*/ 1885 h 1940"/>
              <a:gd name="T66" fmla="*/ 373 w 824"/>
              <a:gd name="T67" fmla="*/ 1440 h 1940"/>
              <a:gd name="T68" fmla="*/ 372 w 824"/>
              <a:gd name="T69" fmla="*/ 1885 h 1940"/>
              <a:gd name="T70" fmla="*/ 353 w 824"/>
              <a:gd name="T71" fmla="*/ 1920 h 1940"/>
              <a:gd name="T72" fmla="*/ 318 w 824"/>
              <a:gd name="T73" fmla="*/ 1939 h 1940"/>
              <a:gd name="T74" fmla="*/ 291 w 824"/>
              <a:gd name="T75" fmla="*/ 1939 h 1940"/>
              <a:gd name="T76" fmla="*/ 257 w 824"/>
              <a:gd name="T77" fmla="*/ 1920 h 1940"/>
              <a:gd name="T78" fmla="*/ 238 w 824"/>
              <a:gd name="T79" fmla="*/ 1885 h 1940"/>
              <a:gd name="T80" fmla="*/ 68 w 824"/>
              <a:gd name="T81" fmla="*/ 1440 h 1940"/>
              <a:gd name="T82" fmla="*/ 51 w 824"/>
              <a:gd name="T83" fmla="*/ 1438 h 1940"/>
              <a:gd name="T84" fmla="*/ 27 w 824"/>
              <a:gd name="T85" fmla="*/ 1426 h 1940"/>
              <a:gd name="T86" fmla="*/ 10 w 824"/>
              <a:gd name="T87" fmla="*/ 1407 h 1940"/>
              <a:gd name="T88" fmla="*/ 3 w 824"/>
              <a:gd name="T89" fmla="*/ 1392 h 1940"/>
              <a:gd name="T90" fmla="*/ 0 w 824"/>
              <a:gd name="T91" fmla="*/ 1366 h 1940"/>
              <a:gd name="T92" fmla="*/ 7 w 824"/>
              <a:gd name="T93" fmla="*/ 1340 h 1940"/>
              <a:gd name="T94" fmla="*/ 354 w 824"/>
              <a:gd name="T95" fmla="*/ 641 h 1940"/>
              <a:gd name="T96" fmla="*/ 375 w 824"/>
              <a:gd name="T97" fmla="*/ 622 h 1940"/>
              <a:gd name="T98" fmla="*/ 402 w 824"/>
              <a:gd name="T99" fmla="*/ 612 h 1940"/>
              <a:gd name="T100" fmla="*/ 421 w 824"/>
              <a:gd name="T101" fmla="*/ 612 h 1940"/>
              <a:gd name="T102" fmla="*/ 449 w 824"/>
              <a:gd name="T103" fmla="*/ 622 h 1940"/>
              <a:gd name="T104" fmla="*/ 467 w 824"/>
              <a:gd name="T105" fmla="*/ 641 h 1940"/>
              <a:gd name="T106" fmla="*/ 817 w 824"/>
              <a:gd name="T107" fmla="*/ 1340 h 1940"/>
              <a:gd name="T108" fmla="*/ 824 w 824"/>
              <a:gd name="T109" fmla="*/ 1366 h 1940"/>
              <a:gd name="T110" fmla="*/ 820 w 824"/>
              <a:gd name="T111" fmla="*/ 1392 h 1940"/>
              <a:gd name="T112" fmla="*/ 814 w 824"/>
              <a:gd name="T113" fmla="*/ 1407 h 1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24" h="1940">
                <a:moveTo>
                  <a:pt x="411" y="0"/>
                </a:moveTo>
                <a:lnTo>
                  <a:pt x="411" y="0"/>
                </a:lnTo>
                <a:lnTo>
                  <a:pt x="438" y="2"/>
                </a:lnTo>
                <a:lnTo>
                  <a:pt x="466" y="5"/>
                </a:lnTo>
                <a:lnTo>
                  <a:pt x="491" y="12"/>
                </a:lnTo>
                <a:lnTo>
                  <a:pt x="515" y="21"/>
                </a:lnTo>
                <a:lnTo>
                  <a:pt x="539" y="33"/>
                </a:lnTo>
                <a:lnTo>
                  <a:pt x="562" y="46"/>
                </a:lnTo>
                <a:lnTo>
                  <a:pt x="582" y="62"/>
                </a:lnTo>
                <a:lnTo>
                  <a:pt x="601" y="79"/>
                </a:lnTo>
                <a:lnTo>
                  <a:pt x="618" y="98"/>
                </a:lnTo>
                <a:lnTo>
                  <a:pt x="634" y="118"/>
                </a:lnTo>
                <a:lnTo>
                  <a:pt x="647" y="141"/>
                </a:lnTo>
                <a:lnTo>
                  <a:pt x="659" y="163"/>
                </a:lnTo>
                <a:lnTo>
                  <a:pt x="668" y="189"/>
                </a:lnTo>
                <a:lnTo>
                  <a:pt x="675" y="214"/>
                </a:lnTo>
                <a:lnTo>
                  <a:pt x="678" y="240"/>
                </a:lnTo>
                <a:lnTo>
                  <a:pt x="680" y="268"/>
                </a:lnTo>
                <a:lnTo>
                  <a:pt x="680" y="268"/>
                </a:lnTo>
                <a:lnTo>
                  <a:pt x="678" y="295"/>
                </a:lnTo>
                <a:lnTo>
                  <a:pt x="675" y="322"/>
                </a:lnTo>
                <a:lnTo>
                  <a:pt x="668" y="348"/>
                </a:lnTo>
                <a:lnTo>
                  <a:pt x="659" y="372"/>
                </a:lnTo>
                <a:lnTo>
                  <a:pt x="647" y="396"/>
                </a:lnTo>
                <a:lnTo>
                  <a:pt x="634" y="418"/>
                </a:lnTo>
                <a:lnTo>
                  <a:pt x="618" y="439"/>
                </a:lnTo>
                <a:lnTo>
                  <a:pt x="601" y="458"/>
                </a:lnTo>
                <a:lnTo>
                  <a:pt x="582" y="475"/>
                </a:lnTo>
                <a:lnTo>
                  <a:pt x="562" y="490"/>
                </a:lnTo>
                <a:lnTo>
                  <a:pt x="539" y="504"/>
                </a:lnTo>
                <a:lnTo>
                  <a:pt x="515" y="516"/>
                </a:lnTo>
                <a:lnTo>
                  <a:pt x="491" y="525"/>
                </a:lnTo>
                <a:lnTo>
                  <a:pt x="466" y="531"/>
                </a:lnTo>
                <a:lnTo>
                  <a:pt x="438" y="535"/>
                </a:lnTo>
                <a:lnTo>
                  <a:pt x="411" y="537"/>
                </a:lnTo>
                <a:lnTo>
                  <a:pt x="411" y="537"/>
                </a:lnTo>
                <a:lnTo>
                  <a:pt x="384" y="535"/>
                </a:lnTo>
                <a:lnTo>
                  <a:pt x="358" y="531"/>
                </a:lnTo>
                <a:lnTo>
                  <a:pt x="332" y="525"/>
                </a:lnTo>
                <a:lnTo>
                  <a:pt x="306" y="516"/>
                </a:lnTo>
                <a:lnTo>
                  <a:pt x="284" y="504"/>
                </a:lnTo>
                <a:lnTo>
                  <a:pt x="262" y="490"/>
                </a:lnTo>
                <a:lnTo>
                  <a:pt x="241" y="475"/>
                </a:lnTo>
                <a:lnTo>
                  <a:pt x="222" y="458"/>
                </a:lnTo>
                <a:lnTo>
                  <a:pt x="205" y="439"/>
                </a:lnTo>
                <a:lnTo>
                  <a:pt x="190" y="418"/>
                </a:lnTo>
                <a:lnTo>
                  <a:pt x="176" y="396"/>
                </a:lnTo>
                <a:lnTo>
                  <a:pt x="164" y="372"/>
                </a:lnTo>
                <a:lnTo>
                  <a:pt x="156" y="348"/>
                </a:lnTo>
                <a:lnTo>
                  <a:pt x="149" y="322"/>
                </a:lnTo>
                <a:lnTo>
                  <a:pt x="145" y="295"/>
                </a:lnTo>
                <a:lnTo>
                  <a:pt x="144" y="268"/>
                </a:lnTo>
                <a:lnTo>
                  <a:pt x="144" y="268"/>
                </a:lnTo>
                <a:lnTo>
                  <a:pt x="145" y="240"/>
                </a:lnTo>
                <a:lnTo>
                  <a:pt x="149" y="214"/>
                </a:lnTo>
                <a:lnTo>
                  <a:pt x="156" y="189"/>
                </a:lnTo>
                <a:lnTo>
                  <a:pt x="164" y="163"/>
                </a:lnTo>
                <a:lnTo>
                  <a:pt x="176" y="141"/>
                </a:lnTo>
                <a:lnTo>
                  <a:pt x="190" y="118"/>
                </a:lnTo>
                <a:lnTo>
                  <a:pt x="205" y="98"/>
                </a:lnTo>
                <a:lnTo>
                  <a:pt x="222" y="79"/>
                </a:lnTo>
                <a:lnTo>
                  <a:pt x="241" y="62"/>
                </a:lnTo>
                <a:lnTo>
                  <a:pt x="262" y="46"/>
                </a:lnTo>
                <a:lnTo>
                  <a:pt x="284" y="33"/>
                </a:lnTo>
                <a:lnTo>
                  <a:pt x="306" y="21"/>
                </a:lnTo>
                <a:lnTo>
                  <a:pt x="332" y="12"/>
                </a:lnTo>
                <a:lnTo>
                  <a:pt x="358" y="5"/>
                </a:lnTo>
                <a:lnTo>
                  <a:pt x="384" y="2"/>
                </a:lnTo>
                <a:lnTo>
                  <a:pt x="411" y="0"/>
                </a:lnTo>
                <a:lnTo>
                  <a:pt x="411" y="0"/>
                </a:lnTo>
                <a:close/>
                <a:moveTo>
                  <a:pt x="814" y="1407"/>
                </a:moveTo>
                <a:lnTo>
                  <a:pt x="814" y="1407"/>
                </a:lnTo>
                <a:lnTo>
                  <a:pt x="808" y="1414"/>
                </a:lnTo>
                <a:lnTo>
                  <a:pt x="803" y="1421"/>
                </a:lnTo>
                <a:lnTo>
                  <a:pt x="796" y="1426"/>
                </a:lnTo>
                <a:lnTo>
                  <a:pt x="788" y="1431"/>
                </a:lnTo>
                <a:lnTo>
                  <a:pt x="781" y="1435"/>
                </a:lnTo>
                <a:lnTo>
                  <a:pt x="772" y="1438"/>
                </a:lnTo>
                <a:lnTo>
                  <a:pt x="764" y="1440"/>
                </a:lnTo>
                <a:lnTo>
                  <a:pt x="755" y="1440"/>
                </a:lnTo>
                <a:lnTo>
                  <a:pt x="598" y="1440"/>
                </a:lnTo>
                <a:lnTo>
                  <a:pt x="598" y="1872"/>
                </a:lnTo>
                <a:lnTo>
                  <a:pt x="598" y="1872"/>
                </a:lnTo>
                <a:lnTo>
                  <a:pt x="598" y="1885"/>
                </a:lnTo>
                <a:lnTo>
                  <a:pt x="593" y="1899"/>
                </a:lnTo>
                <a:lnTo>
                  <a:pt x="587" y="1911"/>
                </a:lnTo>
                <a:lnTo>
                  <a:pt x="579" y="1920"/>
                </a:lnTo>
                <a:lnTo>
                  <a:pt x="569" y="1928"/>
                </a:lnTo>
                <a:lnTo>
                  <a:pt x="557" y="1935"/>
                </a:lnTo>
                <a:lnTo>
                  <a:pt x="543" y="1939"/>
                </a:lnTo>
                <a:lnTo>
                  <a:pt x="529" y="1940"/>
                </a:lnTo>
                <a:lnTo>
                  <a:pt x="529" y="1940"/>
                </a:lnTo>
                <a:lnTo>
                  <a:pt x="515" y="1939"/>
                </a:lnTo>
                <a:lnTo>
                  <a:pt x="503" y="1935"/>
                </a:lnTo>
                <a:lnTo>
                  <a:pt x="491" y="1928"/>
                </a:lnTo>
                <a:lnTo>
                  <a:pt x="481" y="1920"/>
                </a:lnTo>
                <a:lnTo>
                  <a:pt x="473" y="1911"/>
                </a:lnTo>
                <a:lnTo>
                  <a:pt x="467" y="1899"/>
                </a:lnTo>
                <a:lnTo>
                  <a:pt x="462" y="1885"/>
                </a:lnTo>
                <a:lnTo>
                  <a:pt x="461" y="1872"/>
                </a:lnTo>
                <a:lnTo>
                  <a:pt x="461" y="1440"/>
                </a:lnTo>
                <a:lnTo>
                  <a:pt x="373" y="1440"/>
                </a:lnTo>
                <a:lnTo>
                  <a:pt x="373" y="1872"/>
                </a:lnTo>
                <a:lnTo>
                  <a:pt x="373" y="1872"/>
                </a:lnTo>
                <a:lnTo>
                  <a:pt x="372" y="1885"/>
                </a:lnTo>
                <a:lnTo>
                  <a:pt x="368" y="1899"/>
                </a:lnTo>
                <a:lnTo>
                  <a:pt x="361" y="1911"/>
                </a:lnTo>
                <a:lnTo>
                  <a:pt x="353" y="1920"/>
                </a:lnTo>
                <a:lnTo>
                  <a:pt x="342" y="1928"/>
                </a:lnTo>
                <a:lnTo>
                  <a:pt x="332" y="1935"/>
                </a:lnTo>
                <a:lnTo>
                  <a:pt x="318" y="1939"/>
                </a:lnTo>
                <a:lnTo>
                  <a:pt x="305" y="1940"/>
                </a:lnTo>
                <a:lnTo>
                  <a:pt x="305" y="1940"/>
                </a:lnTo>
                <a:lnTo>
                  <a:pt x="291" y="1939"/>
                </a:lnTo>
                <a:lnTo>
                  <a:pt x="277" y="1935"/>
                </a:lnTo>
                <a:lnTo>
                  <a:pt x="267" y="1928"/>
                </a:lnTo>
                <a:lnTo>
                  <a:pt x="257" y="1920"/>
                </a:lnTo>
                <a:lnTo>
                  <a:pt x="248" y="1911"/>
                </a:lnTo>
                <a:lnTo>
                  <a:pt x="241" y="1899"/>
                </a:lnTo>
                <a:lnTo>
                  <a:pt x="238" y="1885"/>
                </a:lnTo>
                <a:lnTo>
                  <a:pt x="236" y="1872"/>
                </a:lnTo>
                <a:lnTo>
                  <a:pt x="236" y="1440"/>
                </a:lnTo>
                <a:lnTo>
                  <a:pt x="68" y="1440"/>
                </a:lnTo>
                <a:lnTo>
                  <a:pt x="68" y="1440"/>
                </a:lnTo>
                <a:lnTo>
                  <a:pt x="60" y="1440"/>
                </a:lnTo>
                <a:lnTo>
                  <a:pt x="51" y="1438"/>
                </a:lnTo>
                <a:lnTo>
                  <a:pt x="43" y="1435"/>
                </a:lnTo>
                <a:lnTo>
                  <a:pt x="34" y="1431"/>
                </a:lnTo>
                <a:lnTo>
                  <a:pt x="27" y="1426"/>
                </a:lnTo>
                <a:lnTo>
                  <a:pt x="20" y="1421"/>
                </a:lnTo>
                <a:lnTo>
                  <a:pt x="15" y="1414"/>
                </a:lnTo>
                <a:lnTo>
                  <a:pt x="10" y="1407"/>
                </a:lnTo>
                <a:lnTo>
                  <a:pt x="10" y="1407"/>
                </a:lnTo>
                <a:lnTo>
                  <a:pt x="5" y="1400"/>
                </a:lnTo>
                <a:lnTo>
                  <a:pt x="3" y="1392"/>
                </a:lnTo>
                <a:lnTo>
                  <a:pt x="0" y="1383"/>
                </a:lnTo>
                <a:lnTo>
                  <a:pt x="0" y="1375"/>
                </a:lnTo>
                <a:lnTo>
                  <a:pt x="0" y="1366"/>
                </a:lnTo>
                <a:lnTo>
                  <a:pt x="1" y="1358"/>
                </a:lnTo>
                <a:lnTo>
                  <a:pt x="3" y="1349"/>
                </a:lnTo>
                <a:lnTo>
                  <a:pt x="7" y="1340"/>
                </a:lnTo>
                <a:lnTo>
                  <a:pt x="351" y="650"/>
                </a:lnTo>
                <a:lnTo>
                  <a:pt x="351" y="650"/>
                </a:lnTo>
                <a:lnTo>
                  <a:pt x="354" y="641"/>
                </a:lnTo>
                <a:lnTo>
                  <a:pt x="361" y="634"/>
                </a:lnTo>
                <a:lnTo>
                  <a:pt x="368" y="627"/>
                </a:lnTo>
                <a:lnTo>
                  <a:pt x="375" y="622"/>
                </a:lnTo>
                <a:lnTo>
                  <a:pt x="384" y="617"/>
                </a:lnTo>
                <a:lnTo>
                  <a:pt x="392" y="615"/>
                </a:lnTo>
                <a:lnTo>
                  <a:pt x="402" y="612"/>
                </a:lnTo>
                <a:lnTo>
                  <a:pt x="411" y="612"/>
                </a:lnTo>
                <a:lnTo>
                  <a:pt x="411" y="612"/>
                </a:lnTo>
                <a:lnTo>
                  <a:pt x="421" y="612"/>
                </a:lnTo>
                <a:lnTo>
                  <a:pt x="430" y="615"/>
                </a:lnTo>
                <a:lnTo>
                  <a:pt x="440" y="619"/>
                </a:lnTo>
                <a:lnTo>
                  <a:pt x="449" y="622"/>
                </a:lnTo>
                <a:lnTo>
                  <a:pt x="455" y="627"/>
                </a:lnTo>
                <a:lnTo>
                  <a:pt x="462" y="634"/>
                </a:lnTo>
                <a:lnTo>
                  <a:pt x="467" y="641"/>
                </a:lnTo>
                <a:lnTo>
                  <a:pt x="473" y="650"/>
                </a:lnTo>
                <a:lnTo>
                  <a:pt x="817" y="1340"/>
                </a:lnTo>
                <a:lnTo>
                  <a:pt x="817" y="1340"/>
                </a:lnTo>
                <a:lnTo>
                  <a:pt x="820" y="1349"/>
                </a:lnTo>
                <a:lnTo>
                  <a:pt x="822" y="1358"/>
                </a:lnTo>
                <a:lnTo>
                  <a:pt x="824" y="1366"/>
                </a:lnTo>
                <a:lnTo>
                  <a:pt x="824" y="1375"/>
                </a:lnTo>
                <a:lnTo>
                  <a:pt x="822" y="1383"/>
                </a:lnTo>
                <a:lnTo>
                  <a:pt x="820" y="1392"/>
                </a:lnTo>
                <a:lnTo>
                  <a:pt x="817" y="1400"/>
                </a:lnTo>
                <a:lnTo>
                  <a:pt x="814" y="1407"/>
                </a:lnTo>
                <a:lnTo>
                  <a:pt x="814" y="140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4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865</Words>
  <Application>Microsoft Office PowerPoint</Application>
  <PresentationFormat>Custom</PresentationFormat>
  <Paragraphs>225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entury Gothic</vt:lpstr>
      <vt:lpstr>Impact</vt:lpstr>
      <vt:lpstr>Wingdings</vt:lpstr>
      <vt:lpstr>DCM</vt:lpstr>
      <vt:lpstr>think-cell Slide</vt:lpstr>
      <vt:lpstr>MAIN SHOPPER WITH children</vt:lpstr>
      <vt:lpstr>Main shopper with children: 4 fast facts</vt:lpstr>
      <vt:lpstr>GETTING TO KNOW THEM</vt:lpstr>
      <vt:lpstr>PowerPoint Presentation</vt:lpstr>
      <vt:lpstr>av consumption</vt:lpstr>
      <vt:lpstr>av consumption</vt:lpstr>
      <vt:lpstr>FILM REMAINS A PASSION POINT</vt:lpstr>
      <vt:lpstr>PowerPoint Presentation</vt:lpstr>
      <vt:lpstr>In the cinema foyeR</vt:lpstr>
      <vt:lpstr>What are they doing on their phones?</vt:lpstr>
      <vt:lpstr>THE ADS AND TRAILERS ARE PART OF THE EXPERIENCE</vt:lpstr>
      <vt:lpstr>PowerPoint Presentation</vt:lpstr>
      <vt:lpstr>Cinema creates positive emotions</vt:lpstr>
      <vt:lpstr>PowerPoint Presentation</vt:lpstr>
      <vt:lpstr>MAIN SHOPPERS help drive the box-office…</vt:lpstr>
      <vt:lpstr>Why do MAIN SHOPPERS go to the cinema?</vt:lpstr>
      <vt:lpstr>HOW TO REACH THEM </vt:lpstr>
      <vt:lpstr>After the film</vt:lpstr>
      <vt:lpstr>KEY CATEGORY INSIGHTS</vt:lpstr>
      <vt:lpstr>PowerPoint Presentation</vt:lpstr>
      <vt:lpstr>How to Buy Cinema</vt:lpstr>
      <vt:lpstr>Toolki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07:51:22Z</dcterms:created>
  <dcterms:modified xsi:type="dcterms:W3CDTF">2017-07-27T08:46:1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